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6" r:id="rId2"/>
    <p:sldId id="269" r:id="rId3"/>
    <p:sldId id="281" r:id="rId4"/>
    <p:sldId id="277" r:id="rId5"/>
    <p:sldId id="261" r:id="rId6"/>
    <p:sldId id="278" r:id="rId7"/>
    <p:sldId id="262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BEF"/>
    <a:srgbClr val="FFFFFF"/>
    <a:srgbClr val="262626"/>
    <a:srgbClr val="FFC000"/>
    <a:srgbClr val="000000"/>
    <a:srgbClr val="3F3F3F"/>
    <a:srgbClr val="5C5C5C"/>
    <a:srgbClr val="EFC94C"/>
    <a:srgbClr val="1A2530"/>
    <a:srgbClr val="DF49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32" autoAdjust="0"/>
    <p:restoredTop sz="94751"/>
  </p:normalViewPr>
  <p:slideViewPr>
    <p:cSldViewPr snapToGrid="0" showGuides="1">
      <p:cViewPr varScale="1">
        <p:scale>
          <a:sx n="70" d="100"/>
          <a:sy n="70" d="100"/>
        </p:scale>
        <p:origin x="1104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0" d="100"/>
          <a:sy n="80" d="100"/>
        </p:scale>
        <p:origin x="237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4" qsCatId="simple" csTypeId="urn:microsoft.com/office/officeart/2005/8/colors/accent2_2" csCatId="accent2" phldr="1"/>
      <dgm:spPr/>
    </dgm:pt>
    <dgm:pt modelId="{ACC2CB48-15CA-4968-A70A-52FD3EC99C12}">
      <dgm:prSet phldrT="[Texto]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Planeación: ALTA PAA / PAQUETES/ FLUJO ETAPAS/</a:t>
          </a:r>
        </a:p>
        <a:p>
          <a:r>
            <a:rPr lang="es-MX" dirty="0" smtClean="0"/>
            <a:t>ETIQUETAS(ZONA)</a:t>
          </a:r>
          <a:endParaRPr lang="es-MX" dirty="0"/>
        </a:p>
      </dgm:t>
    </dgm:pt>
    <dgm:pt modelId="{00BA23B8-442D-4D58-A386-D59A8A1C14F2}" type="parTrans" cxnId="{03CA078F-82FF-4485-9E64-24B6BE9DF9B1}">
      <dgm:prSet/>
      <dgm:spPr/>
      <dgm:t>
        <a:bodyPr/>
        <a:lstStyle/>
        <a:p>
          <a:endParaRPr lang="es-MX"/>
        </a:p>
      </dgm:t>
    </dgm:pt>
    <dgm:pt modelId="{953DC7BF-0C43-41B6-97FA-14DA340027B4}" type="sibTrans" cxnId="{03CA078F-82FF-4485-9E64-24B6BE9DF9B1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B9EBE236-F170-4C99-9072-CCF3A9A5318A}" type="pres">
      <dgm:prSet presAssocID="{ACC2CB48-15CA-4968-A70A-52FD3EC99C12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038A7AD5-E281-8443-B85B-CDEC08CD95B4}" type="presOf" srcId="{ACC2CB48-15CA-4968-A70A-52FD3EC99C12}" destId="{B9EBE236-F170-4C99-9072-CCF3A9A5318A}" srcOrd="0" destOrd="0" presId="urn:microsoft.com/office/officeart/2005/8/layout/process1"/>
    <dgm:cxn modelId="{5A8B9E66-3B0A-0645-ABF8-4CBF99689385}" type="presOf" srcId="{8BDABC09-048E-436C-B35F-146FAD917E87}" destId="{3C6D1BA5-D247-49B8-A559-44A3F2F9FDE5}" srcOrd="0" destOrd="0" presId="urn:microsoft.com/office/officeart/2005/8/layout/process1"/>
    <dgm:cxn modelId="{03CA078F-82FF-4485-9E64-24B6BE9DF9B1}" srcId="{8BDABC09-048E-436C-B35F-146FAD917E87}" destId="{ACC2CB48-15CA-4968-A70A-52FD3EC99C12}" srcOrd="0" destOrd="0" parTransId="{00BA23B8-442D-4D58-A386-D59A8A1C14F2}" sibTransId="{953DC7BF-0C43-41B6-97FA-14DA340027B4}"/>
    <dgm:cxn modelId="{568B4B61-71E9-544B-B7AF-CF46596142C4}" type="presParOf" srcId="{3C6D1BA5-D247-49B8-A559-44A3F2F9FDE5}" destId="{B9EBE236-F170-4C99-9072-CCF3A9A5318A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3" qsCatId="simple" csTypeId="urn:microsoft.com/office/officeart/2005/8/colors/accent3_2" csCatId="accent3" phldr="1"/>
      <dgm:spPr/>
    </dgm:pt>
    <dgm:pt modelId="{42FD612E-2570-40F6-B8A4-72F7FF8AE9B2}">
      <dgm:prSet phldrT="[Texto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Área Auditora. Agrega Entes (Alcance, justificación, con numero de personas, días)</a:t>
          </a:r>
          <a:endParaRPr lang="es-MX" dirty="0"/>
        </a:p>
      </dgm:t>
    </dgm:pt>
    <dgm:pt modelId="{037D3190-326E-4B6E-A9E0-6CE42F757871}" type="parTrans" cxnId="{EE0BA715-1C42-448E-AD2D-55784771A639}">
      <dgm:prSet/>
      <dgm:spPr/>
      <dgm:t>
        <a:bodyPr/>
        <a:lstStyle/>
        <a:p>
          <a:endParaRPr lang="es-MX"/>
        </a:p>
      </dgm:t>
    </dgm:pt>
    <dgm:pt modelId="{40003661-3260-4A95-8C0D-4561D9A49084}" type="sibTrans" cxnId="{EE0BA715-1C42-448E-AD2D-55784771A639}">
      <dgm:prSet/>
      <dgm:spPr/>
      <dgm:t>
        <a:bodyPr/>
        <a:lstStyle/>
        <a:p>
          <a:endParaRPr lang="es-MX"/>
        </a:p>
      </dgm:t>
    </dgm:pt>
    <dgm:pt modelId="{EA6F7CCB-08F5-4F1B-9779-1C7B1BA5A9E7}">
      <dgm:prSet phldrT="[Texto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Planeación: Valida: Entes, Alcance, Persona.  Agregan fechas  y paquetes</a:t>
          </a:r>
          <a:endParaRPr lang="es-MX" dirty="0"/>
        </a:p>
      </dgm:t>
    </dgm:pt>
    <dgm:pt modelId="{77276114-B022-460B-B749-BAF5B1785177}" type="parTrans" cxnId="{FCA554A2-5D24-437A-AA7F-9A1DFB07BEC5}">
      <dgm:prSet/>
      <dgm:spPr/>
      <dgm:t>
        <a:bodyPr/>
        <a:lstStyle/>
        <a:p>
          <a:endParaRPr lang="es-MX"/>
        </a:p>
      </dgm:t>
    </dgm:pt>
    <dgm:pt modelId="{7A3BDFFA-FE9F-4440-8A01-EF3193003E34}" type="sibTrans" cxnId="{FCA554A2-5D24-437A-AA7F-9A1DFB07BEC5}">
      <dgm:prSet/>
      <dgm:spPr/>
      <dgm:t>
        <a:bodyPr/>
        <a:lstStyle/>
        <a:p>
          <a:endParaRPr lang="es-MX"/>
        </a:p>
      </dgm:t>
    </dgm:pt>
    <dgm:pt modelId="{EDC56F0C-9145-4677-94D6-F262CF7E778C}">
      <dgm:prSet phldrT="[Texto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Secretaria Técnica: Entes, Alcance, Persona.  Agregan fechas y grupos</a:t>
          </a:r>
          <a:endParaRPr lang="es-MX" dirty="0"/>
        </a:p>
      </dgm:t>
    </dgm:pt>
    <dgm:pt modelId="{EE3F3724-1881-4C6E-89EA-BA33655AE9CC}" type="parTrans" cxnId="{0F610572-5DBD-49E9-B2C2-C98D27B69321}">
      <dgm:prSet/>
      <dgm:spPr/>
      <dgm:t>
        <a:bodyPr/>
        <a:lstStyle/>
        <a:p>
          <a:endParaRPr lang="es-MX"/>
        </a:p>
      </dgm:t>
    </dgm:pt>
    <dgm:pt modelId="{ACA844D1-0C77-488E-9607-EB68B0D28EC0}" type="sibTrans" cxnId="{0F610572-5DBD-49E9-B2C2-C98D27B69321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CD79820D-4142-4174-ABCB-7754821870D2}" type="pres">
      <dgm:prSet presAssocID="{42FD612E-2570-40F6-B8A4-72F7FF8AE9B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292DD5B4-1FF7-48EC-ABEB-05B280D1DDB9}" type="pres">
      <dgm:prSet presAssocID="{40003661-3260-4A95-8C0D-4561D9A49084}" presName="sibTrans" presStyleLbl="sibTrans2D1" presStyleIdx="0" presStyleCnt="2"/>
      <dgm:spPr/>
      <dgm:t>
        <a:bodyPr/>
        <a:lstStyle/>
        <a:p>
          <a:endParaRPr lang="es-MX"/>
        </a:p>
      </dgm:t>
    </dgm:pt>
    <dgm:pt modelId="{63F8ADCC-BF26-4A97-9E9A-79F417311985}" type="pres">
      <dgm:prSet presAssocID="{40003661-3260-4A95-8C0D-4561D9A49084}" presName="connectorText" presStyleLbl="sibTrans2D1" presStyleIdx="0" presStyleCnt="2"/>
      <dgm:spPr/>
      <dgm:t>
        <a:bodyPr/>
        <a:lstStyle/>
        <a:p>
          <a:endParaRPr lang="es-MX"/>
        </a:p>
      </dgm:t>
    </dgm:pt>
    <dgm:pt modelId="{7B973FFE-B720-4E04-8791-EE42437D567A}" type="pres">
      <dgm:prSet presAssocID="{EA6F7CCB-08F5-4F1B-9779-1C7B1BA5A9E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B7FAC5F7-0A38-4C4B-B7C0-F02E469B8EA5}" type="pres">
      <dgm:prSet presAssocID="{7A3BDFFA-FE9F-4440-8A01-EF3193003E34}" presName="sibTrans" presStyleLbl="sibTrans2D1" presStyleIdx="1" presStyleCnt="2"/>
      <dgm:spPr/>
      <dgm:t>
        <a:bodyPr/>
        <a:lstStyle/>
        <a:p>
          <a:endParaRPr lang="es-MX"/>
        </a:p>
      </dgm:t>
    </dgm:pt>
    <dgm:pt modelId="{0C17C389-97EE-49AA-AA78-812EB12B5D75}" type="pres">
      <dgm:prSet presAssocID="{7A3BDFFA-FE9F-4440-8A01-EF3193003E34}" presName="connectorText" presStyleLbl="sibTrans2D1" presStyleIdx="1" presStyleCnt="2"/>
      <dgm:spPr/>
      <dgm:t>
        <a:bodyPr/>
        <a:lstStyle/>
        <a:p>
          <a:endParaRPr lang="es-MX"/>
        </a:p>
      </dgm:t>
    </dgm:pt>
    <dgm:pt modelId="{A405517E-0F14-4C8B-AA32-B7F7ACC44BF9}" type="pres">
      <dgm:prSet presAssocID="{EDC56F0C-9145-4677-94D6-F262CF7E778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0F610572-5DBD-49E9-B2C2-C98D27B69321}" srcId="{8BDABC09-048E-436C-B35F-146FAD917E87}" destId="{EDC56F0C-9145-4677-94D6-F262CF7E778C}" srcOrd="2" destOrd="0" parTransId="{EE3F3724-1881-4C6E-89EA-BA33655AE9CC}" sibTransId="{ACA844D1-0C77-488E-9607-EB68B0D28EC0}"/>
    <dgm:cxn modelId="{FCA554A2-5D24-437A-AA7F-9A1DFB07BEC5}" srcId="{8BDABC09-048E-436C-B35F-146FAD917E87}" destId="{EA6F7CCB-08F5-4F1B-9779-1C7B1BA5A9E7}" srcOrd="1" destOrd="0" parTransId="{77276114-B022-460B-B749-BAF5B1785177}" sibTransId="{7A3BDFFA-FE9F-4440-8A01-EF3193003E34}"/>
    <dgm:cxn modelId="{EB4534F8-59CC-9848-8E09-71D6FE23E8E6}" type="presOf" srcId="{EDC56F0C-9145-4677-94D6-F262CF7E778C}" destId="{A405517E-0F14-4C8B-AA32-B7F7ACC44BF9}" srcOrd="0" destOrd="0" presId="urn:microsoft.com/office/officeart/2005/8/layout/process1"/>
    <dgm:cxn modelId="{B3F37890-6907-5C4D-ADB4-FD26E64FCE87}" type="presOf" srcId="{8BDABC09-048E-436C-B35F-146FAD917E87}" destId="{3C6D1BA5-D247-49B8-A559-44A3F2F9FDE5}" srcOrd="0" destOrd="0" presId="urn:microsoft.com/office/officeart/2005/8/layout/process1"/>
    <dgm:cxn modelId="{ECF9E9B3-7A15-E847-8E6B-89DC8AD2BD27}" type="presOf" srcId="{42FD612E-2570-40F6-B8A4-72F7FF8AE9B2}" destId="{CD79820D-4142-4174-ABCB-7754821870D2}" srcOrd="0" destOrd="0" presId="urn:microsoft.com/office/officeart/2005/8/layout/process1"/>
    <dgm:cxn modelId="{A75BFFE5-0CBB-4042-A1CB-D4BB845EA30D}" type="presOf" srcId="{40003661-3260-4A95-8C0D-4561D9A49084}" destId="{63F8ADCC-BF26-4A97-9E9A-79F417311985}" srcOrd="1" destOrd="0" presId="urn:microsoft.com/office/officeart/2005/8/layout/process1"/>
    <dgm:cxn modelId="{EE0BA715-1C42-448E-AD2D-55784771A639}" srcId="{8BDABC09-048E-436C-B35F-146FAD917E87}" destId="{42FD612E-2570-40F6-B8A4-72F7FF8AE9B2}" srcOrd="0" destOrd="0" parTransId="{037D3190-326E-4B6E-A9E0-6CE42F757871}" sibTransId="{40003661-3260-4A95-8C0D-4561D9A49084}"/>
    <dgm:cxn modelId="{E090C576-5D31-5647-B49D-C56FABFA4175}" type="presOf" srcId="{40003661-3260-4A95-8C0D-4561D9A49084}" destId="{292DD5B4-1FF7-48EC-ABEB-05B280D1DDB9}" srcOrd="0" destOrd="0" presId="urn:microsoft.com/office/officeart/2005/8/layout/process1"/>
    <dgm:cxn modelId="{6D00C8D0-6E7F-334E-B0D7-1029676CC0D4}" type="presOf" srcId="{7A3BDFFA-FE9F-4440-8A01-EF3193003E34}" destId="{0C17C389-97EE-49AA-AA78-812EB12B5D75}" srcOrd="1" destOrd="0" presId="urn:microsoft.com/office/officeart/2005/8/layout/process1"/>
    <dgm:cxn modelId="{8A221BCE-7619-124B-88FA-AD5779D291BF}" type="presOf" srcId="{EA6F7CCB-08F5-4F1B-9779-1C7B1BA5A9E7}" destId="{7B973FFE-B720-4E04-8791-EE42437D567A}" srcOrd="0" destOrd="0" presId="urn:microsoft.com/office/officeart/2005/8/layout/process1"/>
    <dgm:cxn modelId="{4D8AB98A-73F6-E346-B331-116971FB2C0F}" type="presOf" srcId="{7A3BDFFA-FE9F-4440-8A01-EF3193003E34}" destId="{B7FAC5F7-0A38-4C4B-B7C0-F02E469B8EA5}" srcOrd="0" destOrd="0" presId="urn:microsoft.com/office/officeart/2005/8/layout/process1"/>
    <dgm:cxn modelId="{9DDB4CAD-87A8-B74C-9B6E-23F2407179FB}" type="presParOf" srcId="{3C6D1BA5-D247-49B8-A559-44A3F2F9FDE5}" destId="{CD79820D-4142-4174-ABCB-7754821870D2}" srcOrd="0" destOrd="0" presId="urn:microsoft.com/office/officeart/2005/8/layout/process1"/>
    <dgm:cxn modelId="{A6B7C8A7-8D91-4044-ABCD-1D026C046E56}" type="presParOf" srcId="{3C6D1BA5-D247-49B8-A559-44A3F2F9FDE5}" destId="{292DD5B4-1FF7-48EC-ABEB-05B280D1DDB9}" srcOrd="1" destOrd="0" presId="urn:microsoft.com/office/officeart/2005/8/layout/process1"/>
    <dgm:cxn modelId="{6CCCDB1F-93F1-104E-8219-ACFF299EEB89}" type="presParOf" srcId="{292DD5B4-1FF7-48EC-ABEB-05B280D1DDB9}" destId="{63F8ADCC-BF26-4A97-9E9A-79F417311985}" srcOrd="0" destOrd="0" presId="urn:microsoft.com/office/officeart/2005/8/layout/process1"/>
    <dgm:cxn modelId="{A7E1D5D7-9468-3C45-BFF4-ADCBA60BCBCF}" type="presParOf" srcId="{3C6D1BA5-D247-49B8-A559-44A3F2F9FDE5}" destId="{7B973FFE-B720-4E04-8791-EE42437D567A}" srcOrd="2" destOrd="0" presId="urn:microsoft.com/office/officeart/2005/8/layout/process1"/>
    <dgm:cxn modelId="{1AD2D2F3-8DAE-594D-BBD0-2EFAED14BAB2}" type="presParOf" srcId="{3C6D1BA5-D247-49B8-A559-44A3F2F9FDE5}" destId="{B7FAC5F7-0A38-4C4B-B7C0-F02E469B8EA5}" srcOrd="3" destOrd="0" presId="urn:microsoft.com/office/officeart/2005/8/layout/process1"/>
    <dgm:cxn modelId="{EA5D8014-3050-8C44-9C13-92C779F95A7C}" type="presParOf" srcId="{B7FAC5F7-0A38-4C4B-B7C0-F02E469B8EA5}" destId="{0C17C389-97EE-49AA-AA78-812EB12B5D75}" srcOrd="0" destOrd="0" presId="urn:microsoft.com/office/officeart/2005/8/layout/process1"/>
    <dgm:cxn modelId="{9932B59F-D34B-A14F-BBC8-C53F6BA8296C}" type="presParOf" srcId="{3C6D1BA5-D247-49B8-A559-44A3F2F9FDE5}" destId="{A405517E-0F14-4C8B-AA32-B7F7ACC44BF9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1" qsCatId="simple" csTypeId="urn:microsoft.com/office/officeart/2005/8/colors/accent4_2" csCatId="accent4" phldr="1"/>
      <dgm:spPr/>
    </dgm:pt>
    <dgm:pt modelId="{ACC2CB48-15CA-4968-A70A-52FD3EC99C12}">
      <dgm:prSet phldrT="[Texto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Planeación: Organizar Paquete, Regiones. Definición de Fechas. </a:t>
          </a:r>
          <a:endParaRPr lang="es-MX" dirty="0"/>
        </a:p>
      </dgm:t>
    </dgm:pt>
    <dgm:pt modelId="{00BA23B8-442D-4D58-A386-D59A8A1C14F2}" type="parTrans" cxnId="{03CA078F-82FF-4485-9E64-24B6BE9DF9B1}">
      <dgm:prSet/>
      <dgm:spPr/>
      <dgm:t>
        <a:bodyPr/>
        <a:lstStyle/>
        <a:p>
          <a:endParaRPr lang="es-MX"/>
        </a:p>
      </dgm:t>
    </dgm:pt>
    <dgm:pt modelId="{953DC7BF-0C43-41B6-97FA-14DA340027B4}" type="sibTrans" cxnId="{03CA078F-82FF-4485-9E64-24B6BE9DF9B1}">
      <dgm:prSet/>
      <dgm:spPr/>
      <dgm:t>
        <a:bodyPr/>
        <a:lstStyle/>
        <a:p>
          <a:endParaRPr lang="es-MX"/>
        </a:p>
      </dgm:t>
    </dgm:pt>
    <dgm:pt modelId="{42FD612E-2570-40F6-B8A4-72F7FF8AE9B2}">
      <dgm:prSet phldrT="[Texto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Área Auditora. Define auditores por Ente y procedimiento. </a:t>
          </a:r>
          <a:endParaRPr lang="es-MX" dirty="0"/>
        </a:p>
      </dgm:t>
    </dgm:pt>
    <dgm:pt modelId="{037D3190-326E-4B6E-A9E0-6CE42F757871}" type="parTrans" cxnId="{EE0BA715-1C42-448E-AD2D-55784771A639}">
      <dgm:prSet/>
      <dgm:spPr/>
      <dgm:t>
        <a:bodyPr/>
        <a:lstStyle/>
        <a:p>
          <a:endParaRPr lang="es-MX"/>
        </a:p>
      </dgm:t>
    </dgm:pt>
    <dgm:pt modelId="{40003661-3260-4A95-8C0D-4561D9A49084}" type="sibTrans" cxnId="{EE0BA715-1C42-448E-AD2D-55784771A639}">
      <dgm:prSet/>
      <dgm:spPr/>
      <dgm:t>
        <a:bodyPr/>
        <a:lstStyle/>
        <a:p>
          <a:endParaRPr lang="es-MX"/>
        </a:p>
      </dgm:t>
    </dgm:pt>
    <dgm:pt modelId="{2E99EC76-B87C-4D39-8657-62E3EDD169F5}">
      <dgm:prSet phldrT="[Texto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Secretaria Técnica: Autorización de PAA</a:t>
          </a:r>
          <a:endParaRPr lang="es-MX" dirty="0"/>
        </a:p>
      </dgm:t>
    </dgm:pt>
    <dgm:pt modelId="{6F60D791-0FF2-4FCA-8B8F-AC6EAC0441C8}" type="parTrans" cxnId="{518B9943-BD6D-4627-99F1-1EF8A968BB1B}">
      <dgm:prSet/>
      <dgm:spPr/>
      <dgm:t>
        <a:bodyPr/>
        <a:lstStyle/>
        <a:p>
          <a:endParaRPr lang="es-MX"/>
        </a:p>
      </dgm:t>
    </dgm:pt>
    <dgm:pt modelId="{9ECA8CFD-9685-4890-9B1C-F6C7BED02B54}" type="sibTrans" cxnId="{518B9943-BD6D-4627-99F1-1EF8A968BB1B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B9EBE236-F170-4C99-9072-CCF3A9A5318A}" type="pres">
      <dgm:prSet presAssocID="{ACC2CB48-15CA-4968-A70A-52FD3EC99C1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D6076E2-C8BF-40A3-BD83-7B3C575BCDFC}" type="pres">
      <dgm:prSet presAssocID="{953DC7BF-0C43-41B6-97FA-14DA340027B4}" presName="sibTrans" presStyleLbl="sibTrans2D1" presStyleIdx="0" presStyleCnt="2"/>
      <dgm:spPr/>
      <dgm:t>
        <a:bodyPr/>
        <a:lstStyle/>
        <a:p>
          <a:endParaRPr lang="es-MX"/>
        </a:p>
      </dgm:t>
    </dgm:pt>
    <dgm:pt modelId="{463E67BF-9000-45C5-9B15-CBAC6D115FEF}" type="pres">
      <dgm:prSet presAssocID="{953DC7BF-0C43-41B6-97FA-14DA340027B4}" presName="connectorText" presStyleLbl="sibTrans2D1" presStyleIdx="0" presStyleCnt="2"/>
      <dgm:spPr/>
      <dgm:t>
        <a:bodyPr/>
        <a:lstStyle/>
        <a:p>
          <a:endParaRPr lang="es-MX"/>
        </a:p>
      </dgm:t>
    </dgm:pt>
    <dgm:pt modelId="{CD79820D-4142-4174-ABCB-7754821870D2}" type="pres">
      <dgm:prSet presAssocID="{42FD612E-2570-40F6-B8A4-72F7FF8AE9B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292DD5B4-1FF7-48EC-ABEB-05B280D1DDB9}" type="pres">
      <dgm:prSet presAssocID="{40003661-3260-4A95-8C0D-4561D9A49084}" presName="sibTrans" presStyleLbl="sibTrans2D1" presStyleIdx="1" presStyleCnt="2"/>
      <dgm:spPr/>
      <dgm:t>
        <a:bodyPr/>
        <a:lstStyle/>
        <a:p>
          <a:endParaRPr lang="es-MX"/>
        </a:p>
      </dgm:t>
    </dgm:pt>
    <dgm:pt modelId="{63F8ADCC-BF26-4A97-9E9A-79F417311985}" type="pres">
      <dgm:prSet presAssocID="{40003661-3260-4A95-8C0D-4561D9A49084}" presName="connectorText" presStyleLbl="sibTrans2D1" presStyleIdx="1" presStyleCnt="2"/>
      <dgm:spPr/>
      <dgm:t>
        <a:bodyPr/>
        <a:lstStyle/>
        <a:p>
          <a:endParaRPr lang="es-MX"/>
        </a:p>
      </dgm:t>
    </dgm:pt>
    <dgm:pt modelId="{7B51F824-8CB2-4D1D-805D-B2A5B9A6BAF3}" type="pres">
      <dgm:prSet presAssocID="{2E99EC76-B87C-4D39-8657-62E3EDD169F5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DF9C093F-7D3C-C945-B4ED-ACC1DAF7874F}" type="presOf" srcId="{42FD612E-2570-40F6-B8A4-72F7FF8AE9B2}" destId="{CD79820D-4142-4174-ABCB-7754821870D2}" srcOrd="0" destOrd="0" presId="urn:microsoft.com/office/officeart/2005/8/layout/process1"/>
    <dgm:cxn modelId="{9EA3D2DB-0D2A-B74B-9C68-775002999351}" type="presOf" srcId="{40003661-3260-4A95-8C0D-4561D9A49084}" destId="{63F8ADCC-BF26-4A97-9E9A-79F417311985}" srcOrd="1" destOrd="0" presId="urn:microsoft.com/office/officeart/2005/8/layout/process1"/>
    <dgm:cxn modelId="{2B62CC40-3822-F44F-9A0D-E9DBF4E13327}" type="presOf" srcId="{8BDABC09-048E-436C-B35F-146FAD917E87}" destId="{3C6D1BA5-D247-49B8-A559-44A3F2F9FDE5}" srcOrd="0" destOrd="0" presId="urn:microsoft.com/office/officeart/2005/8/layout/process1"/>
    <dgm:cxn modelId="{B850572C-1FFF-754B-9AD9-E5FB2FD7C448}" type="presOf" srcId="{40003661-3260-4A95-8C0D-4561D9A49084}" destId="{292DD5B4-1FF7-48EC-ABEB-05B280D1DDB9}" srcOrd="0" destOrd="0" presId="urn:microsoft.com/office/officeart/2005/8/layout/process1"/>
    <dgm:cxn modelId="{82C9355C-226A-B94F-92A3-6869A03BE1AE}" type="presOf" srcId="{ACC2CB48-15CA-4968-A70A-52FD3EC99C12}" destId="{B9EBE236-F170-4C99-9072-CCF3A9A5318A}" srcOrd="0" destOrd="0" presId="urn:microsoft.com/office/officeart/2005/8/layout/process1"/>
    <dgm:cxn modelId="{03CA078F-82FF-4485-9E64-24B6BE9DF9B1}" srcId="{8BDABC09-048E-436C-B35F-146FAD917E87}" destId="{ACC2CB48-15CA-4968-A70A-52FD3EC99C12}" srcOrd="0" destOrd="0" parTransId="{00BA23B8-442D-4D58-A386-D59A8A1C14F2}" sibTransId="{953DC7BF-0C43-41B6-97FA-14DA340027B4}"/>
    <dgm:cxn modelId="{518B9943-BD6D-4627-99F1-1EF8A968BB1B}" srcId="{8BDABC09-048E-436C-B35F-146FAD917E87}" destId="{2E99EC76-B87C-4D39-8657-62E3EDD169F5}" srcOrd="2" destOrd="0" parTransId="{6F60D791-0FF2-4FCA-8B8F-AC6EAC0441C8}" sibTransId="{9ECA8CFD-9685-4890-9B1C-F6C7BED02B54}"/>
    <dgm:cxn modelId="{38CEF601-B940-8E46-A156-6D23CEB6AFA2}" type="presOf" srcId="{2E99EC76-B87C-4D39-8657-62E3EDD169F5}" destId="{7B51F824-8CB2-4D1D-805D-B2A5B9A6BAF3}" srcOrd="0" destOrd="0" presId="urn:microsoft.com/office/officeart/2005/8/layout/process1"/>
    <dgm:cxn modelId="{EE0BA715-1C42-448E-AD2D-55784771A639}" srcId="{8BDABC09-048E-436C-B35F-146FAD917E87}" destId="{42FD612E-2570-40F6-B8A4-72F7FF8AE9B2}" srcOrd="1" destOrd="0" parTransId="{037D3190-326E-4B6E-A9E0-6CE42F757871}" sibTransId="{40003661-3260-4A95-8C0D-4561D9A49084}"/>
    <dgm:cxn modelId="{E1234C27-7BC4-7346-A54D-F857B57129AC}" type="presOf" srcId="{953DC7BF-0C43-41B6-97FA-14DA340027B4}" destId="{463E67BF-9000-45C5-9B15-CBAC6D115FEF}" srcOrd="1" destOrd="0" presId="urn:microsoft.com/office/officeart/2005/8/layout/process1"/>
    <dgm:cxn modelId="{3C9BF1A2-43FF-414D-85EA-844573AFD1DC}" type="presOf" srcId="{953DC7BF-0C43-41B6-97FA-14DA340027B4}" destId="{8D6076E2-C8BF-40A3-BD83-7B3C575BCDFC}" srcOrd="0" destOrd="0" presId="urn:microsoft.com/office/officeart/2005/8/layout/process1"/>
    <dgm:cxn modelId="{27E82F77-AF45-9D49-9F19-6468F0BF6898}" type="presParOf" srcId="{3C6D1BA5-D247-49B8-A559-44A3F2F9FDE5}" destId="{B9EBE236-F170-4C99-9072-CCF3A9A5318A}" srcOrd="0" destOrd="0" presId="urn:microsoft.com/office/officeart/2005/8/layout/process1"/>
    <dgm:cxn modelId="{3C7A6963-0F05-B646-A7D0-8099BB637E6B}" type="presParOf" srcId="{3C6D1BA5-D247-49B8-A559-44A3F2F9FDE5}" destId="{8D6076E2-C8BF-40A3-BD83-7B3C575BCDFC}" srcOrd="1" destOrd="0" presId="urn:microsoft.com/office/officeart/2005/8/layout/process1"/>
    <dgm:cxn modelId="{242B73EF-0BBD-7D42-9F8D-210EB58FB714}" type="presParOf" srcId="{8D6076E2-C8BF-40A3-BD83-7B3C575BCDFC}" destId="{463E67BF-9000-45C5-9B15-CBAC6D115FEF}" srcOrd="0" destOrd="0" presId="urn:microsoft.com/office/officeart/2005/8/layout/process1"/>
    <dgm:cxn modelId="{D81D107D-61C3-B447-9598-193D999ED0A1}" type="presParOf" srcId="{3C6D1BA5-D247-49B8-A559-44A3F2F9FDE5}" destId="{CD79820D-4142-4174-ABCB-7754821870D2}" srcOrd="2" destOrd="0" presId="urn:microsoft.com/office/officeart/2005/8/layout/process1"/>
    <dgm:cxn modelId="{C2A99053-35A7-3744-981B-4DF4B20365BA}" type="presParOf" srcId="{3C6D1BA5-D247-49B8-A559-44A3F2F9FDE5}" destId="{292DD5B4-1FF7-48EC-ABEB-05B280D1DDB9}" srcOrd="3" destOrd="0" presId="urn:microsoft.com/office/officeart/2005/8/layout/process1"/>
    <dgm:cxn modelId="{6A39D7E8-84F4-5E40-9ECB-808163454C1F}" type="presParOf" srcId="{292DD5B4-1FF7-48EC-ABEB-05B280D1DDB9}" destId="{63F8ADCC-BF26-4A97-9E9A-79F417311985}" srcOrd="0" destOrd="0" presId="urn:microsoft.com/office/officeart/2005/8/layout/process1"/>
    <dgm:cxn modelId="{AB3B94A1-C8E1-3947-919E-C6281227A8DE}" type="presParOf" srcId="{3C6D1BA5-D247-49B8-A559-44A3F2F9FDE5}" destId="{7B51F824-8CB2-4D1D-805D-B2A5B9A6BAF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1" qsCatId="simple" csTypeId="urn:microsoft.com/office/officeart/2005/8/colors/accent5_2" csCatId="accent5" phldr="1"/>
      <dgm:spPr/>
    </dgm:pt>
    <dgm:pt modelId="{ACC2CB48-15CA-4968-A70A-52FD3EC99C12}">
      <dgm:prSet phldrT="[Texto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Congreso: Autoriza o Solicita cambios</a:t>
          </a:r>
          <a:endParaRPr lang="es-MX" dirty="0"/>
        </a:p>
      </dgm:t>
    </dgm:pt>
    <dgm:pt modelId="{00BA23B8-442D-4D58-A386-D59A8A1C14F2}" type="parTrans" cxnId="{03CA078F-82FF-4485-9E64-24B6BE9DF9B1}">
      <dgm:prSet/>
      <dgm:spPr/>
      <dgm:t>
        <a:bodyPr/>
        <a:lstStyle/>
        <a:p>
          <a:endParaRPr lang="es-MX"/>
        </a:p>
      </dgm:t>
    </dgm:pt>
    <dgm:pt modelId="{953DC7BF-0C43-41B6-97FA-14DA340027B4}" type="sibTrans" cxnId="{03CA078F-82FF-4485-9E64-24B6BE9DF9B1}">
      <dgm:prSet/>
      <dgm:spPr/>
      <dgm:t>
        <a:bodyPr/>
        <a:lstStyle/>
        <a:p>
          <a:endParaRPr lang="es-MX"/>
        </a:p>
      </dgm:t>
    </dgm:pt>
    <dgm:pt modelId="{2E99EC76-B87C-4D39-8657-62E3EDD169F5}">
      <dgm:prSet phldrT="[Texto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ASE Establece </a:t>
          </a:r>
        </a:p>
        <a:p>
          <a:r>
            <a:rPr lang="es-MX" dirty="0" smtClean="0"/>
            <a:t>PAA Final</a:t>
          </a:r>
          <a:endParaRPr lang="es-MX" dirty="0"/>
        </a:p>
      </dgm:t>
    </dgm:pt>
    <dgm:pt modelId="{9ECA8CFD-9685-4890-9B1C-F6C7BED02B54}" type="sibTrans" cxnId="{518B9943-BD6D-4627-99F1-1EF8A968BB1B}">
      <dgm:prSet/>
      <dgm:spPr/>
      <dgm:t>
        <a:bodyPr/>
        <a:lstStyle/>
        <a:p>
          <a:endParaRPr lang="es-MX"/>
        </a:p>
      </dgm:t>
    </dgm:pt>
    <dgm:pt modelId="{6F60D791-0FF2-4FCA-8B8F-AC6EAC0441C8}" type="parTrans" cxnId="{518B9943-BD6D-4627-99F1-1EF8A968BB1B}">
      <dgm:prSet/>
      <dgm:spPr/>
      <dgm:t>
        <a:bodyPr/>
        <a:lstStyle/>
        <a:p>
          <a:endParaRPr lang="es-MX"/>
        </a:p>
      </dgm:t>
    </dgm:pt>
    <dgm:pt modelId="{4FBA6F3E-830B-41AC-B0CC-C2F0D28ACB26}">
      <dgm:prSet phldrT="[Texto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s-MX" dirty="0" smtClean="0"/>
            <a:t>ASE Ejecuta PAA</a:t>
          </a:r>
          <a:endParaRPr lang="es-MX" dirty="0"/>
        </a:p>
      </dgm:t>
    </dgm:pt>
    <dgm:pt modelId="{E99C26C5-6152-41C7-A5FD-742AA5394408}" type="parTrans" cxnId="{1AF501AC-C110-400C-811A-1A46F8BE9C44}">
      <dgm:prSet/>
      <dgm:spPr/>
      <dgm:t>
        <a:bodyPr/>
        <a:lstStyle/>
        <a:p>
          <a:endParaRPr lang="es-MX"/>
        </a:p>
      </dgm:t>
    </dgm:pt>
    <dgm:pt modelId="{8D08874A-DA62-486C-90C1-6038FFFE16A7}" type="sibTrans" cxnId="{1AF501AC-C110-400C-811A-1A46F8BE9C44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B9EBE236-F170-4C99-9072-CCF3A9A5318A}" type="pres">
      <dgm:prSet presAssocID="{ACC2CB48-15CA-4968-A70A-52FD3EC99C12}" presName="node" presStyleLbl="node1" presStyleIdx="0" presStyleCnt="3" custLinFactNeighborX="-83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D6076E2-C8BF-40A3-BD83-7B3C575BCDFC}" type="pres">
      <dgm:prSet presAssocID="{953DC7BF-0C43-41B6-97FA-14DA340027B4}" presName="sibTrans" presStyleLbl="sibTrans2D1" presStyleIdx="0" presStyleCnt="2"/>
      <dgm:spPr/>
      <dgm:t>
        <a:bodyPr/>
        <a:lstStyle/>
        <a:p>
          <a:endParaRPr lang="es-MX"/>
        </a:p>
      </dgm:t>
    </dgm:pt>
    <dgm:pt modelId="{463E67BF-9000-45C5-9B15-CBAC6D115FEF}" type="pres">
      <dgm:prSet presAssocID="{953DC7BF-0C43-41B6-97FA-14DA340027B4}" presName="connectorText" presStyleLbl="sibTrans2D1" presStyleIdx="0" presStyleCnt="2"/>
      <dgm:spPr/>
      <dgm:t>
        <a:bodyPr/>
        <a:lstStyle/>
        <a:p>
          <a:endParaRPr lang="es-MX"/>
        </a:p>
      </dgm:t>
    </dgm:pt>
    <dgm:pt modelId="{7B51F824-8CB2-4D1D-805D-B2A5B9A6BAF3}" type="pres">
      <dgm:prSet presAssocID="{2E99EC76-B87C-4D39-8657-62E3EDD169F5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2CFC956-D067-4E46-B7A2-0888B53D5DD3}" type="pres">
      <dgm:prSet presAssocID="{9ECA8CFD-9685-4890-9B1C-F6C7BED02B54}" presName="sibTrans" presStyleLbl="sibTrans2D1" presStyleIdx="1" presStyleCnt="2"/>
      <dgm:spPr/>
      <dgm:t>
        <a:bodyPr/>
        <a:lstStyle/>
        <a:p>
          <a:endParaRPr lang="es-MX"/>
        </a:p>
      </dgm:t>
    </dgm:pt>
    <dgm:pt modelId="{3AC50ECB-54F8-4388-8487-08005DD52EBA}" type="pres">
      <dgm:prSet presAssocID="{9ECA8CFD-9685-4890-9B1C-F6C7BED02B54}" presName="connectorText" presStyleLbl="sibTrans2D1" presStyleIdx="1" presStyleCnt="2"/>
      <dgm:spPr/>
      <dgm:t>
        <a:bodyPr/>
        <a:lstStyle/>
        <a:p>
          <a:endParaRPr lang="es-MX"/>
        </a:p>
      </dgm:t>
    </dgm:pt>
    <dgm:pt modelId="{71884AD6-5138-4140-9490-5DB5F7665438}" type="pres">
      <dgm:prSet presAssocID="{4FBA6F3E-830B-41AC-B0CC-C2F0D28ACB26}" presName="node" presStyleLbl="node1" presStyleIdx="2" presStyleCnt="3" custLinFactNeighborY="-1957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F5217D5C-C2ED-4E45-B0BC-C4015C07F23E}" type="presOf" srcId="{953DC7BF-0C43-41B6-97FA-14DA340027B4}" destId="{8D6076E2-C8BF-40A3-BD83-7B3C575BCDFC}" srcOrd="0" destOrd="0" presId="urn:microsoft.com/office/officeart/2005/8/layout/process1"/>
    <dgm:cxn modelId="{DA1239E9-3407-6B49-8350-E36EA2FC065C}" type="presOf" srcId="{8BDABC09-048E-436C-B35F-146FAD917E87}" destId="{3C6D1BA5-D247-49B8-A559-44A3F2F9FDE5}" srcOrd="0" destOrd="0" presId="urn:microsoft.com/office/officeart/2005/8/layout/process1"/>
    <dgm:cxn modelId="{C5BAC75C-D7A9-744C-9222-F26A38F8EE3E}" type="presOf" srcId="{9ECA8CFD-9685-4890-9B1C-F6C7BED02B54}" destId="{3AC50ECB-54F8-4388-8487-08005DD52EBA}" srcOrd="1" destOrd="0" presId="urn:microsoft.com/office/officeart/2005/8/layout/process1"/>
    <dgm:cxn modelId="{1A38E40B-B2B1-084E-9024-3831C03303F7}" type="presOf" srcId="{ACC2CB48-15CA-4968-A70A-52FD3EC99C12}" destId="{B9EBE236-F170-4C99-9072-CCF3A9A5318A}" srcOrd="0" destOrd="0" presId="urn:microsoft.com/office/officeart/2005/8/layout/process1"/>
    <dgm:cxn modelId="{71674A10-1843-9D4B-A198-F207209F7C53}" type="presOf" srcId="{9ECA8CFD-9685-4890-9B1C-F6C7BED02B54}" destId="{12CFC956-D067-4E46-B7A2-0888B53D5DD3}" srcOrd="0" destOrd="0" presId="urn:microsoft.com/office/officeart/2005/8/layout/process1"/>
    <dgm:cxn modelId="{6FB1766C-18B0-ED4A-BCCD-C4B2B91A5A33}" type="presOf" srcId="{953DC7BF-0C43-41B6-97FA-14DA340027B4}" destId="{463E67BF-9000-45C5-9B15-CBAC6D115FEF}" srcOrd="1" destOrd="0" presId="urn:microsoft.com/office/officeart/2005/8/layout/process1"/>
    <dgm:cxn modelId="{F60BF37F-049A-734A-87A9-6EE82AE09EAA}" type="presOf" srcId="{2E99EC76-B87C-4D39-8657-62E3EDD169F5}" destId="{7B51F824-8CB2-4D1D-805D-B2A5B9A6BAF3}" srcOrd="0" destOrd="0" presId="urn:microsoft.com/office/officeart/2005/8/layout/process1"/>
    <dgm:cxn modelId="{518B9943-BD6D-4627-99F1-1EF8A968BB1B}" srcId="{8BDABC09-048E-436C-B35F-146FAD917E87}" destId="{2E99EC76-B87C-4D39-8657-62E3EDD169F5}" srcOrd="1" destOrd="0" parTransId="{6F60D791-0FF2-4FCA-8B8F-AC6EAC0441C8}" sibTransId="{9ECA8CFD-9685-4890-9B1C-F6C7BED02B54}"/>
    <dgm:cxn modelId="{1AF501AC-C110-400C-811A-1A46F8BE9C44}" srcId="{8BDABC09-048E-436C-B35F-146FAD917E87}" destId="{4FBA6F3E-830B-41AC-B0CC-C2F0D28ACB26}" srcOrd="2" destOrd="0" parTransId="{E99C26C5-6152-41C7-A5FD-742AA5394408}" sibTransId="{8D08874A-DA62-486C-90C1-6038FFFE16A7}"/>
    <dgm:cxn modelId="{03CA078F-82FF-4485-9E64-24B6BE9DF9B1}" srcId="{8BDABC09-048E-436C-B35F-146FAD917E87}" destId="{ACC2CB48-15CA-4968-A70A-52FD3EC99C12}" srcOrd="0" destOrd="0" parTransId="{00BA23B8-442D-4D58-A386-D59A8A1C14F2}" sibTransId="{953DC7BF-0C43-41B6-97FA-14DA340027B4}"/>
    <dgm:cxn modelId="{1F2CA455-483C-AC48-B989-D907901D4258}" type="presOf" srcId="{4FBA6F3E-830B-41AC-B0CC-C2F0D28ACB26}" destId="{71884AD6-5138-4140-9490-5DB5F7665438}" srcOrd="0" destOrd="0" presId="urn:microsoft.com/office/officeart/2005/8/layout/process1"/>
    <dgm:cxn modelId="{E17D252B-B9A9-704D-99B4-314387CD301E}" type="presParOf" srcId="{3C6D1BA5-D247-49B8-A559-44A3F2F9FDE5}" destId="{B9EBE236-F170-4C99-9072-CCF3A9A5318A}" srcOrd="0" destOrd="0" presId="urn:microsoft.com/office/officeart/2005/8/layout/process1"/>
    <dgm:cxn modelId="{40455A7A-B3AC-A144-B6AE-1213A572E4BF}" type="presParOf" srcId="{3C6D1BA5-D247-49B8-A559-44A3F2F9FDE5}" destId="{8D6076E2-C8BF-40A3-BD83-7B3C575BCDFC}" srcOrd="1" destOrd="0" presId="urn:microsoft.com/office/officeart/2005/8/layout/process1"/>
    <dgm:cxn modelId="{672C90E9-7DE4-0642-A0FA-F42EB993068E}" type="presParOf" srcId="{8D6076E2-C8BF-40A3-BD83-7B3C575BCDFC}" destId="{463E67BF-9000-45C5-9B15-CBAC6D115FEF}" srcOrd="0" destOrd="0" presId="urn:microsoft.com/office/officeart/2005/8/layout/process1"/>
    <dgm:cxn modelId="{C7F57135-8B59-C94E-93CF-F93251D61068}" type="presParOf" srcId="{3C6D1BA5-D247-49B8-A559-44A3F2F9FDE5}" destId="{7B51F824-8CB2-4D1D-805D-B2A5B9A6BAF3}" srcOrd="2" destOrd="0" presId="urn:microsoft.com/office/officeart/2005/8/layout/process1"/>
    <dgm:cxn modelId="{58639B31-4C2D-4748-8545-104DF475F666}" type="presParOf" srcId="{3C6D1BA5-D247-49B8-A559-44A3F2F9FDE5}" destId="{12CFC956-D067-4E46-B7A2-0888B53D5DD3}" srcOrd="3" destOrd="0" presId="urn:microsoft.com/office/officeart/2005/8/layout/process1"/>
    <dgm:cxn modelId="{D5141550-40A9-1243-A1F2-1B2C61B69E04}" type="presParOf" srcId="{12CFC956-D067-4E46-B7A2-0888B53D5DD3}" destId="{3AC50ECB-54F8-4388-8487-08005DD52EBA}" srcOrd="0" destOrd="0" presId="urn:microsoft.com/office/officeart/2005/8/layout/process1"/>
    <dgm:cxn modelId="{096BB0B3-F6A2-E14C-9CDC-BD2DC1E672A7}" type="presParOf" srcId="{3C6D1BA5-D247-49B8-A559-44A3F2F9FDE5}" destId="{71884AD6-5138-4140-9490-5DB5F7665438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4" qsCatId="simple" csTypeId="urn:microsoft.com/office/officeart/2005/8/colors/accent2_2" csCatId="accent2" phldr="1"/>
      <dgm:spPr/>
    </dgm:pt>
    <dgm:pt modelId="{ACC2CB48-15CA-4968-A70A-52FD3EC99C12}">
      <dgm:prSet phldrT="[Texto]" custT="1"/>
      <dgm:spPr/>
      <dgm:t>
        <a:bodyPr/>
        <a:lstStyle/>
        <a:p>
          <a:r>
            <a:rPr lang="es-MX" sz="1400" dirty="0" smtClean="0"/>
            <a:t>Se</a:t>
          </a:r>
          <a:r>
            <a:rPr lang="es-MX" sz="1400" baseline="0" dirty="0" smtClean="0"/>
            <a:t> sube el informe de observaciones a la plataforma de SharePoint en su versión 1.0 , este informe será analizado por ( área financiera , jurídico , secretario técnico y auditor superior) </a:t>
          </a:r>
          <a:endParaRPr lang="es-MX" sz="1400" dirty="0"/>
        </a:p>
      </dgm:t>
    </dgm:pt>
    <dgm:pt modelId="{00BA23B8-442D-4D58-A386-D59A8A1C14F2}" type="parTrans" cxnId="{03CA078F-82FF-4485-9E64-24B6BE9DF9B1}">
      <dgm:prSet/>
      <dgm:spPr/>
      <dgm:t>
        <a:bodyPr/>
        <a:lstStyle/>
        <a:p>
          <a:endParaRPr lang="es-MX"/>
        </a:p>
      </dgm:t>
    </dgm:pt>
    <dgm:pt modelId="{953DC7BF-0C43-41B6-97FA-14DA340027B4}" type="sibTrans" cxnId="{03CA078F-82FF-4485-9E64-24B6BE9DF9B1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B9EBE236-F170-4C99-9072-CCF3A9A5318A}" type="pres">
      <dgm:prSet presAssocID="{ACC2CB48-15CA-4968-A70A-52FD3EC99C12}" presName="node" presStyleLbl="node1" presStyleIdx="0" presStyleCnt="1" custLinFactNeighborY="7692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9C36F739-29CE-6D47-BF64-7211F44A8277}" type="presOf" srcId="{8BDABC09-048E-436C-B35F-146FAD917E87}" destId="{3C6D1BA5-D247-49B8-A559-44A3F2F9FDE5}" srcOrd="0" destOrd="0" presId="urn:microsoft.com/office/officeart/2005/8/layout/process1"/>
    <dgm:cxn modelId="{03CA078F-82FF-4485-9E64-24B6BE9DF9B1}" srcId="{8BDABC09-048E-436C-B35F-146FAD917E87}" destId="{ACC2CB48-15CA-4968-A70A-52FD3EC99C12}" srcOrd="0" destOrd="0" parTransId="{00BA23B8-442D-4D58-A386-D59A8A1C14F2}" sibTransId="{953DC7BF-0C43-41B6-97FA-14DA340027B4}"/>
    <dgm:cxn modelId="{28B019F9-89CE-694F-8816-725990F7FF00}" type="presOf" srcId="{ACC2CB48-15CA-4968-A70A-52FD3EC99C12}" destId="{B9EBE236-F170-4C99-9072-CCF3A9A5318A}" srcOrd="0" destOrd="0" presId="urn:microsoft.com/office/officeart/2005/8/layout/process1"/>
    <dgm:cxn modelId="{4B8B534A-68AA-0B44-AE11-9659E1E4318E}" type="presParOf" srcId="{3C6D1BA5-D247-49B8-A559-44A3F2F9FDE5}" destId="{B9EBE236-F170-4C99-9072-CCF3A9A5318A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4" qsCatId="simple" csTypeId="urn:microsoft.com/office/officeart/2005/8/colors/accent3_2" csCatId="accent3" phldr="1"/>
      <dgm:spPr/>
    </dgm:pt>
    <dgm:pt modelId="{42FD612E-2570-40F6-B8A4-72F7FF8AE9B2}">
      <dgm:prSet phldrT="[Texto]" custT="1"/>
      <dgm:spPr/>
      <dgm:t>
        <a:bodyPr/>
        <a:lstStyle/>
        <a:p>
          <a:r>
            <a:rPr lang="es-MX" sz="1400" dirty="0" smtClean="0"/>
            <a:t>Una vez concluida la etapa de revisión del informe de observaciones este es enviado al Ente</a:t>
          </a:r>
          <a:endParaRPr lang="es-MX" sz="1400" dirty="0"/>
        </a:p>
      </dgm:t>
    </dgm:pt>
    <dgm:pt modelId="{037D3190-326E-4B6E-A9E0-6CE42F757871}" type="parTrans" cxnId="{EE0BA715-1C42-448E-AD2D-55784771A639}">
      <dgm:prSet/>
      <dgm:spPr/>
      <dgm:t>
        <a:bodyPr/>
        <a:lstStyle/>
        <a:p>
          <a:endParaRPr lang="es-MX"/>
        </a:p>
      </dgm:t>
    </dgm:pt>
    <dgm:pt modelId="{40003661-3260-4A95-8C0D-4561D9A49084}" type="sibTrans" cxnId="{EE0BA715-1C42-448E-AD2D-55784771A639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CD79820D-4142-4174-ABCB-7754821870D2}" type="pres">
      <dgm:prSet presAssocID="{42FD612E-2570-40F6-B8A4-72F7FF8AE9B2}" presName="node" presStyleLbl="node1" presStyleIdx="0" presStyleCnt="1" custLinFactY="142857" custLinFactNeighborX="-49" custLinFactNeighborY="200000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EE0BA715-1C42-448E-AD2D-55784771A639}" srcId="{8BDABC09-048E-436C-B35F-146FAD917E87}" destId="{42FD612E-2570-40F6-B8A4-72F7FF8AE9B2}" srcOrd="0" destOrd="0" parTransId="{037D3190-326E-4B6E-A9E0-6CE42F757871}" sibTransId="{40003661-3260-4A95-8C0D-4561D9A49084}"/>
    <dgm:cxn modelId="{7849FF3F-F2F9-E743-9D42-8B49B48C7EAA}" type="presOf" srcId="{42FD612E-2570-40F6-B8A4-72F7FF8AE9B2}" destId="{CD79820D-4142-4174-ABCB-7754821870D2}" srcOrd="0" destOrd="0" presId="urn:microsoft.com/office/officeart/2005/8/layout/process1"/>
    <dgm:cxn modelId="{96725C3A-3E32-8D4F-B8BF-F6F4E7C5FC59}" type="presOf" srcId="{8BDABC09-048E-436C-B35F-146FAD917E87}" destId="{3C6D1BA5-D247-49B8-A559-44A3F2F9FDE5}" srcOrd="0" destOrd="0" presId="urn:microsoft.com/office/officeart/2005/8/layout/process1"/>
    <dgm:cxn modelId="{52E7C3B3-87AA-C443-9461-8093F83AAF29}" type="presParOf" srcId="{3C6D1BA5-D247-49B8-A559-44A3F2F9FDE5}" destId="{CD79820D-4142-4174-ABCB-7754821870D2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1" qsCatId="simple" csTypeId="urn:microsoft.com/office/officeart/2005/8/colors/accent4_2" csCatId="accent4" phldr="1"/>
      <dgm:spPr/>
    </dgm:pt>
    <dgm:pt modelId="{ACC2CB48-15CA-4968-A70A-52FD3EC99C12}">
      <dgm:prSet phldrT="[Texto]" custT="1"/>
      <dgm:spPr/>
      <dgm:t>
        <a:bodyPr/>
        <a:lstStyle/>
        <a:p>
          <a:r>
            <a:rPr lang="es-MX" sz="1400" dirty="0" smtClean="0"/>
            <a:t>Se recibe la respuesta del Ente y SharePoint envía una notificación a los involucrados en dicha revisión</a:t>
          </a:r>
          <a:endParaRPr lang="es-MX" sz="1400" dirty="0"/>
        </a:p>
      </dgm:t>
    </dgm:pt>
    <dgm:pt modelId="{00BA23B8-442D-4D58-A386-D59A8A1C14F2}" type="parTrans" cxnId="{03CA078F-82FF-4485-9E64-24B6BE9DF9B1}">
      <dgm:prSet/>
      <dgm:spPr/>
      <dgm:t>
        <a:bodyPr/>
        <a:lstStyle/>
        <a:p>
          <a:endParaRPr lang="es-MX"/>
        </a:p>
      </dgm:t>
    </dgm:pt>
    <dgm:pt modelId="{953DC7BF-0C43-41B6-97FA-14DA340027B4}" type="sibTrans" cxnId="{03CA078F-82FF-4485-9E64-24B6BE9DF9B1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B9EBE236-F170-4C99-9072-CCF3A9A5318A}" type="pres">
      <dgm:prSet presAssocID="{ACC2CB48-15CA-4968-A70A-52FD3EC99C12}" presName="node" presStyleLbl="node1" presStyleIdx="0" presStyleCnt="1" custLinFactNeighborX="-49" custLinFactNeighborY="-5388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50863D6C-6E21-1C47-BD69-36190D351CA9}" type="presOf" srcId="{ACC2CB48-15CA-4968-A70A-52FD3EC99C12}" destId="{B9EBE236-F170-4C99-9072-CCF3A9A5318A}" srcOrd="0" destOrd="0" presId="urn:microsoft.com/office/officeart/2005/8/layout/process1"/>
    <dgm:cxn modelId="{03CA078F-82FF-4485-9E64-24B6BE9DF9B1}" srcId="{8BDABC09-048E-436C-B35F-146FAD917E87}" destId="{ACC2CB48-15CA-4968-A70A-52FD3EC99C12}" srcOrd="0" destOrd="0" parTransId="{00BA23B8-442D-4D58-A386-D59A8A1C14F2}" sibTransId="{953DC7BF-0C43-41B6-97FA-14DA340027B4}"/>
    <dgm:cxn modelId="{3CCD8911-E2BA-764D-BFF0-6B57C5FBFF7A}" type="presOf" srcId="{8BDABC09-048E-436C-B35F-146FAD917E87}" destId="{3C6D1BA5-D247-49B8-A559-44A3F2F9FDE5}" srcOrd="0" destOrd="0" presId="urn:microsoft.com/office/officeart/2005/8/layout/process1"/>
    <dgm:cxn modelId="{B268A227-0011-FD4A-921B-3E4EAE2439E4}" type="presParOf" srcId="{3C6D1BA5-D247-49B8-A559-44A3F2F9FDE5}" destId="{B9EBE236-F170-4C99-9072-CCF3A9A5318A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8BDABC09-048E-436C-B35F-146FAD917E87}" type="doc">
      <dgm:prSet loTypeId="urn:microsoft.com/office/officeart/2005/8/layout/process1" loCatId="process" qsTypeId="urn:microsoft.com/office/officeart/2005/8/quickstyle/simple1" qsCatId="simple" csTypeId="urn:microsoft.com/office/officeart/2005/8/colors/accent5_2" csCatId="accent5" phldr="1"/>
      <dgm:spPr/>
    </dgm:pt>
    <dgm:pt modelId="{2E99EC76-B87C-4D39-8657-62E3EDD169F5}">
      <dgm:prSet phldrT="[Texto]" custT="1"/>
      <dgm:spPr/>
      <dgm:t>
        <a:bodyPr/>
        <a:lstStyle/>
        <a:p>
          <a:r>
            <a:rPr lang="es-MX" sz="1400" dirty="0" smtClean="0"/>
            <a:t>Una vez impactada la respuesta del Ente en el informe  se genera la versión 1.0 del Informe Técnico de Resultados en SharePoint ,  </a:t>
          </a:r>
          <a:r>
            <a:rPr lang="es-MX" sz="1400" baseline="0" dirty="0" smtClean="0"/>
            <a:t>este informe será analizado por ( área financiera , jurídico , secretario técnico y auditor superior) </a:t>
          </a:r>
          <a:endParaRPr lang="es-MX" sz="1400" dirty="0"/>
        </a:p>
      </dgm:t>
    </dgm:pt>
    <dgm:pt modelId="{9ECA8CFD-9685-4890-9B1C-F6C7BED02B54}" type="sibTrans" cxnId="{518B9943-BD6D-4627-99F1-1EF8A968BB1B}">
      <dgm:prSet/>
      <dgm:spPr/>
      <dgm:t>
        <a:bodyPr/>
        <a:lstStyle/>
        <a:p>
          <a:endParaRPr lang="es-MX"/>
        </a:p>
      </dgm:t>
    </dgm:pt>
    <dgm:pt modelId="{6F60D791-0FF2-4FCA-8B8F-AC6EAC0441C8}" type="parTrans" cxnId="{518B9943-BD6D-4627-99F1-1EF8A968BB1B}">
      <dgm:prSet/>
      <dgm:spPr/>
      <dgm:t>
        <a:bodyPr/>
        <a:lstStyle/>
        <a:p>
          <a:endParaRPr lang="es-MX"/>
        </a:p>
      </dgm:t>
    </dgm:pt>
    <dgm:pt modelId="{3C6D1BA5-D247-49B8-A559-44A3F2F9FDE5}" type="pres">
      <dgm:prSet presAssocID="{8BDABC09-048E-436C-B35F-146FAD917E87}" presName="Name0" presStyleCnt="0">
        <dgm:presLayoutVars>
          <dgm:dir/>
          <dgm:resizeHandles val="exact"/>
        </dgm:presLayoutVars>
      </dgm:prSet>
      <dgm:spPr/>
    </dgm:pt>
    <dgm:pt modelId="{7B51F824-8CB2-4D1D-805D-B2A5B9A6BAF3}" type="pres">
      <dgm:prSet presAssocID="{2E99EC76-B87C-4D39-8657-62E3EDD169F5}" presName="node" presStyleLbl="node1" presStyleIdx="0" presStyleCnt="1" custLinFactNeighborY="-12453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0320106C-3EA7-414C-A2A8-A24AB69CDEE5}" type="presOf" srcId="{2E99EC76-B87C-4D39-8657-62E3EDD169F5}" destId="{7B51F824-8CB2-4D1D-805D-B2A5B9A6BAF3}" srcOrd="0" destOrd="0" presId="urn:microsoft.com/office/officeart/2005/8/layout/process1"/>
    <dgm:cxn modelId="{518B9943-BD6D-4627-99F1-1EF8A968BB1B}" srcId="{8BDABC09-048E-436C-B35F-146FAD917E87}" destId="{2E99EC76-B87C-4D39-8657-62E3EDD169F5}" srcOrd="0" destOrd="0" parTransId="{6F60D791-0FF2-4FCA-8B8F-AC6EAC0441C8}" sibTransId="{9ECA8CFD-9685-4890-9B1C-F6C7BED02B54}"/>
    <dgm:cxn modelId="{40361815-D413-824F-8188-3A1B1F248159}" type="presOf" srcId="{8BDABC09-048E-436C-B35F-146FAD917E87}" destId="{3C6D1BA5-D247-49B8-A559-44A3F2F9FDE5}" srcOrd="0" destOrd="0" presId="urn:microsoft.com/office/officeart/2005/8/layout/process1"/>
    <dgm:cxn modelId="{FB3E96D3-F013-1240-8C36-8C99F03F7DAE}" type="presParOf" srcId="{3C6D1BA5-D247-49B8-A559-44A3F2F9FDE5}" destId="{7B51F824-8CB2-4D1D-805D-B2A5B9A6BAF3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BE236-F170-4C99-9072-CCF3A9A5318A}">
      <dsp:nvSpPr>
        <dsp:cNvPr id="0" name=""/>
        <dsp:cNvSpPr/>
      </dsp:nvSpPr>
      <dsp:spPr>
        <a:xfrm>
          <a:off x="2865" y="0"/>
          <a:ext cx="5862920" cy="72008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satMod val="103000"/>
                <a:lumMod val="102000"/>
                <a:tint val="94000"/>
              </a:schemeClr>
            </a:gs>
            <a:gs pos="50000">
              <a:schemeClr val="accent1">
                <a:satMod val="110000"/>
                <a:lumMod val="100000"/>
                <a:shade val="100000"/>
              </a:schemeClr>
            </a:gs>
            <a:gs pos="100000">
              <a:schemeClr val="accent1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kern="1200" dirty="0" smtClean="0"/>
            <a:t>Planeación: ALTA PAA / PAQUETES/ FLUJO ETAPAS/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kern="1200" dirty="0" smtClean="0"/>
            <a:t>ETIQUETAS(ZONA)</a:t>
          </a:r>
          <a:endParaRPr lang="es-MX" sz="1700" kern="1200" dirty="0"/>
        </a:p>
      </dsp:txBody>
      <dsp:txXfrm>
        <a:off x="23955" y="21090"/>
        <a:ext cx="5820740" cy="6779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79820D-4142-4174-ABCB-7754821870D2}">
      <dsp:nvSpPr>
        <dsp:cNvPr id="0" name=""/>
        <dsp:cNvSpPr/>
      </dsp:nvSpPr>
      <dsp:spPr>
        <a:xfrm>
          <a:off x="5252" y="69047"/>
          <a:ext cx="1570041" cy="94202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100" kern="1200" dirty="0" smtClean="0"/>
            <a:t>Área Auditora. Agrega Entes (Alcance, justificación, con numero de personas, días)</a:t>
          </a:r>
          <a:endParaRPr lang="es-MX" sz="1100" kern="1200" dirty="0"/>
        </a:p>
      </dsp:txBody>
      <dsp:txXfrm>
        <a:off x="32843" y="96638"/>
        <a:ext cx="1514859" cy="886842"/>
      </dsp:txXfrm>
    </dsp:sp>
    <dsp:sp modelId="{292DD5B4-1FF7-48EC-ABEB-05B280D1DDB9}">
      <dsp:nvSpPr>
        <dsp:cNvPr id="0" name=""/>
        <dsp:cNvSpPr/>
      </dsp:nvSpPr>
      <dsp:spPr>
        <a:xfrm>
          <a:off x="1732298" y="345374"/>
          <a:ext cx="332848" cy="38937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tint val="6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900" kern="1200"/>
        </a:p>
      </dsp:txBody>
      <dsp:txXfrm>
        <a:off x="1732298" y="423248"/>
        <a:ext cx="232994" cy="233622"/>
      </dsp:txXfrm>
    </dsp:sp>
    <dsp:sp modelId="{7B973FFE-B720-4E04-8791-EE42437D567A}">
      <dsp:nvSpPr>
        <dsp:cNvPr id="0" name=""/>
        <dsp:cNvSpPr/>
      </dsp:nvSpPr>
      <dsp:spPr>
        <a:xfrm>
          <a:off x="2203311" y="69047"/>
          <a:ext cx="1570041" cy="94202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100" kern="1200" dirty="0" smtClean="0"/>
            <a:t>Planeación: Valida: Entes, Alcance, Persona.  Agregan fechas  y paquetes</a:t>
          </a:r>
          <a:endParaRPr lang="es-MX" sz="1100" kern="1200" dirty="0"/>
        </a:p>
      </dsp:txBody>
      <dsp:txXfrm>
        <a:off x="2230902" y="96638"/>
        <a:ext cx="1514859" cy="886842"/>
      </dsp:txXfrm>
    </dsp:sp>
    <dsp:sp modelId="{B7FAC5F7-0A38-4C4B-B7C0-F02E469B8EA5}">
      <dsp:nvSpPr>
        <dsp:cNvPr id="0" name=""/>
        <dsp:cNvSpPr/>
      </dsp:nvSpPr>
      <dsp:spPr>
        <a:xfrm>
          <a:off x="3930356" y="345374"/>
          <a:ext cx="332848" cy="389370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tint val="6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900" kern="1200"/>
        </a:p>
      </dsp:txBody>
      <dsp:txXfrm>
        <a:off x="3930356" y="423248"/>
        <a:ext cx="232994" cy="233622"/>
      </dsp:txXfrm>
    </dsp:sp>
    <dsp:sp modelId="{A405517E-0F14-4C8B-AA32-B7F7ACC44BF9}">
      <dsp:nvSpPr>
        <dsp:cNvPr id="0" name=""/>
        <dsp:cNvSpPr/>
      </dsp:nvSpPr>
      <dsp:spPr>
        <a:xfrm>
          <a:off x="4401369" y="69047"/>
          <a:ext cx="1570041" cy="94202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6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100" kern="1200" dirty="0" smtClean="0"/>
            <a:t>Secretaria Técnica: Entes, Alcance, Persona.  Agregan fechas y grupos</a:t>
          </a:r>
          <a:endParaRPr lang="es-MX" sz="1100" kern="1200" dirty="0"/>
        </a:p>
      </dsp:txBody>
      <dsp:txXfrm>
        <a:off x="4428960" y="96638"/>
        <a:ext cx="1514859" cy="8868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BE236-F170-4C99-9072-CCF3A9A5318A}">
      <dsp:nvSpPr>
        <dsp:cNvPr id="0" name=""/>
        <dsp:cNvSpPr/>
      </dsp:nvSpPr>
      <dsp:spPr>
        <a:xfrm>
          <a:off x="5236" y="70526"/>
          <a:ext cx="1565112" cy="93906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Planeación: Organizar Paquete, Regiones. Definición de Fechas. </a:t>
          </a:r>
          <a:endParaRPr lang="es-MX" sz="1200" kern="1200" dirty="0"/>
        </a:p>
      </dsp:txBody>
      <dsp:txXfrm>
        <a:off x="32740" y="98030"/>
        <a:ext cx="1510104" cy="884059"/>
      </dsp:txXfrm>
    </dsp:sp>
    <dsp:sp modelId="{8D6076E2-C8BF-40A3-BD83-7B3C575BCDFC}">
      <dsp:nvSpPr>
        <dsp:cNvPr id="0" name=""/>
        <dsp:cNvSpPr/>
      </dsp:nvSpPr>
      <dsp:spPr>
        <a:xfrm>
          <a:off x="1726860" y="345986"/>
          <a:ext cx="331803" cy="3881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000" kern="1200"/>
        </a:p>
      </dsp:txBody>
      <dsp:txXfrm>
        <a:off x="1726860" y="423615"/>
        <a:ext cx="232262" cy="232889"/>
      </dsp:txXfrm>
    </dsp:sp>
    <dsp:sp modelId="{CD79820D-4142-4174-ABCB-7754821870D2}">
      <dsp:nvSpPr>
        <dsp:cNvPr id="0" name=""/>
        <dsp:cNvSpPr/>
      </dsp:nvSpPr>
      <dsp:spPr>
        <a:xfrm>
          <a:off x="2196393" y="70526"/>
          <a:ext cx="1565112" cy="93906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Área Auditora. Define auditores por Ente y procedimiento. </a:t>
          </a:r>
          <a:endParaRPr lang="es-MX" sz="1200" kern="1200" dirty="0"/>
        </a:p>
      </dsp:txBody>
      <dsp:txXfrm>
        <a:off x="2223897" y="98030"/>
        <a:ext cx="1510104" cy="884059"/>
      </dsp:txXfrm>
    </dsp:sp>
    <dsp:sp modelId="{292DD5B4-1FF7-48EC-ABEB-05B280D1DDB9}">
      <dsp:nvSpPr>
        <dsp:cNvPr id="0" name=""/>
        <dsp:cNvSpPr/>
      </dsp:nvSpPr>
      <dsp:spPr>
        <a:xfrm>
          <a:off x="3918017" y="345986"/>
          <a:ext cx="331803" cy="3881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000" kern="1200"/>
        </a:p>
      </dsp:txBody>
      <dsp:txXfrm>
        <a:off x="3918017" y="423615"/>
        <a:ext cx="232262" cy="232889"/>
      </dsp:txXfrm>
    </dsp:sp>
    <dsp:sp modelId="{7B51F824-8CB2-4D1D-805D-B2A5B9A6BAF3}">
      <dsp:nvSpPr>
        <dsp:cNvPr id="0" name=""/>
        <dsp:cNvSpPr/>
      </dsp:nvSpPr>
      <dsp:spPr>
        <a:xfrm>
          <a:off x="4387551" y="70526"/>
          <a:ext cx="1565112" cy="93906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4"/>
          </a:solidFill>
          <a:prstDash val="solid"/>
          <a:miter lim="800000"/>
        </a:ln>
        <a:effectLst/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Secretaria Técnica: Autorización de PAA</a:t>
          </a:r>
          <a:endParaRPr lang="es-MX" sz="1200" kern="1200" dirty="0"/>
        </a:p>
      </dsp:txBody>
      <dsp:txXfrm>
        <a:off x="4415055" y="98030"/>
        <a:ext cx="1510104" cy="8840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BE236-F170-4C99-9072-CCF3A9A5318A}">
      <dsp:nvSpPr>
        <dsp:cNvPr id="0" name=""/>
        <dsp:cNvSpPr/>
      </dsp:nvSpPr>
      <dsp:spPr>
        <a:xfrm>
          <a:off x="2" y="0"/>
          <a:ext cx="1565112" cy="7920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atMod val="103000"/>
                <a:lumMod val="102000"/>
                <a:tint val="94000"/>
              </a:schemeClr>
            </a:gs>
            <a:gs pos="50000">
              <a:schemeClr val="accent2">
                <a:satMod val="110000"/>
                <a:lumMod val="100000"/>
                <a:shade val="100000"/>
              </a:schemeClr>
            </a:gs>
            <a:gs pos="100000">
              <a:schemeClr val="accent2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500" kern="1200" dirty="0" smtClean="0"/>
            <a:t>Congreso: Autoriza o Solicita cambios</a:t>
          </a:r>
          <a:endParaRPr lang="es-MX" sz="1500" kern="1200" dirty="0"/>
        </a:p>
      </dsp:txBody>
      <dsp:txXfrm>
        <a:off x="23201" y="23199"/>
        <a:ext cx="1518714" cy="745689"/>
      </dsp:txXfrm>
    </dsp:sp>
    <dsp:sp modelId="{8D6076E2-C8BF-40A3-BD83-7B3C575BCDFC}">
      <dsp:nvSpPr>
        <dsp:cNvPr id="0" name=""/>
        <dsp:cNvSpPr/>
      </dsp:nvSpPr>
      <dsp:spPr>
        <a:xfrm>
          <a:off x="1722934" y="201970"/>
          <a:ext cx="334577" cy="3881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200" kern="1200"/>
        </a:p>
      </dsp:txBody>
      <dsp:txXfrm>
        <a:off x="1722934" y="279599"/>
        <a:ext cx="234204" cy="232889"/>
      </dsp:txXfrm>
    </dsp:sp>
    <dsp:sp modelId="{7B51F824-8CB2-4D1D-805D-B2A5B9A6BAF3}">
      <dsp:nvSpPr>
        <dsp:cNvPr id="0" name=""/>
        <dsp:cNvSpPr/>
      </dsp:nvSpPr>
      <dsp:spPr>
        <a:xfrm>
          <a:off x="2196393" y="0"/>
          <a:ext cx="1565112" cy="7920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atMod val="103000"/>
                <a:lumMod val="102000"/>
                <a:tint val="94000"/>
              </a:schemeClr>
            </a:gs>
            <a:gs pos="50000">
              <a:schemeClr val="accent2">
                <a:satMod val="110000"/>
                <a:lumMod val="100000"/>
                <a:shade val="100000"/>
              </a:schemeClr>
            </a:gs>
            <a:gs pos="100000">
              <a:schemeClr val="accent2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500" kern="1200" dirty="0" smtClean="0"/>
            <a:t>ASE Establece </a:t>
          </a:r>
        </a:p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500" kern="1200" dirty="0" smtClean="0"/>
            <a:t>PAA Final</a:t>
          </a:r>
          <a:endParaRPr lang="es-MX" sz="1500" kern="1200" dirty="0"/>
        </a:p>
      </dsp:txBody>
      <dsp:txXfrm>
        <a:off x="2219592" y="23199"/>
        <a:ext cx="1518714" cy="745689"/>
      </dsp:txXfrm>
    </dsp:sp>
    <dsp:sp modelId="{12CFC956-D067-4E46-B7A2-0888B53D5DD3}">
      <dsp:nvSpPr>
        <dsp:cNvPr id="0" name=""/>
        <dsp:cNvSpPr/>
      </dsp:nvSpPr>
      <dsp:spPr>
        <a:xfrm>
          <a:off x="3918017" y="201970"/>
          <a:ext cx="331803" cy="388147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MX" sz="1200" kern="1200"/>
        </a:p>
      </dsp:txBody>
      <dsp:txXfrm>
        <a:off x="3918017" y="279599"/>
        <a:ext cx="232262" cy="232889"/>
      </dsp:txXfrm>
    </dsp:sp>
    <dsp:sp modelId="{71884AD6-5138-4140-9490-5DB5F7665438}">
      <dsp:nvSpPr>
        <dsp:cNvPr id="0" name=""/>
        <dsp:cNvSpPr/>
      </dsp:nvSpPr>
      <dsp:spPr>
        <a:xfrm>
          <a:off x="4387551" y="0"/>
          <a:ext cx="1565112" cy="792087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atMod val="103000"/>
                <a:lumMod val="102000"/>
                <a:tint val="94000"/>
              </a:schemeClr>
            </a:gs>
            <a:gs pos="50000">
              <a:schemeClr val="accent2">
                <a:satMod val="110000"/>
                <a:lumMod val="100000"/>
                <a:shade val="100000"/>
              </a:schemeClr>
            </a:gs>
            <a:gs pos="100000">
              <a:schemeClr val="accent2">
                <a:lumMod val="99000"/>
                <a:satMod val="120000"/>
                <a:shade val="78000"/>
              </a:schemeClr>
            </a:gs>
          </a:gsLst>
          <a:lin ang="5400000" scaled="0"/>
        </a:gradFill>
        <a:ln w="635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500" kern="1200" dirty="0" smtClean="0"/>
            <a:t>ASE Ejecuta PAA</a:t>
          </a:r>
          <a:endParaRPr lang="es-MX" sz="1500" kern="1200" dirty="0"/>
        </a:p>
      </dsp:txBody>
      <dsp:txXfrm>
        <a:off x="4410750" y="23199"/>
        <a:ext cx="1518714" cy="7456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BE236-F170-4C99-9072-CCF3A9A5318A}">
      <dsp:nvSpPr>
        <dsp:cNvPr id="0" name=""/>
        <dsp:cNvSpPr/>
      </dsp:nvSpPr>
      <dsp:spPr>
        <a:xfrm>
          <a:off x="3599" y="0"/>
          <a:ext cx="7363757" cy="7539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e</a:t>
          </a:r>
          <a:r>
            <a:rPr lang="es-MX" sz="1400" kern="1200" baseline="0" dirty="0" smtClean="0"/>
            <a:t> sube el informe de observaciones a la plataforma de SharePoint en su versión 1.0 , este informe será analizado por ( área financiera , jurídico , secretario técnico y auditor superior) </a:t>
          </a:r>
          <a:endParaRPr lang="es-MX" sz="1400" kern="1200" dirty="0"/>
        </a:p>
      </dsp:txBody>
      <dsp:txXfrm>
        <a:off x="25680" y="22081"/>
        <a:ext cx="7319595" cy="7097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79820D-4142-4174-ABCB-7754821870D2}">
      <dsp:nvSpPr>
        <dsp:cNvPr id="0" name=""/>
        <dsp:cNvSpPr/>
      </dsp:nvSpPr>
      <dsp:spPr>
        <a:xfrm>
          <a:off x="0" y="0"/>
          <a:ext cx="7363757" cy="81190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Una vez concluida la etapa de revisión del informe de observaciones este es enviado al Ente</a:t>
          </a:r>
          <a:endParaRPr lang="es-MX" sz="1400" kern="1200" dirty="0"/>
        </a:p>
      </dsp:txBody>
      <dsp:txXfrm>
        <a:off x="23780" y="23780"/>
        <a:ext cx="7316197" cy="76434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EBE236-F170-4C99-9072-CCF3A9A5318A}">
      <dsp:nvSpPr>
        <dsp:cNvPr id="0" name=""/>
        <dsp:cNvSpPr/>
      </dsp:nvSpPr>
      <dsp:spPr>
        <a:xfrm>
          <a:off x="0" y="0"/>
          <a:ext cx="7363757" cy="86989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e recibe la respuesta del Ente y SharePoint envía una notificación a los involucrados en dicha revisión</a:t>
          </a:r>
          <a:endParaRPr lang="es-MX" sz="1400" kern="1200" dirty="0"/>
        </a:p>
      </dsp:txBody>
      <dsp:txXfrm>
        <a:off x="25478" y="25478"/>
        <a:ext cx="7312801" cy="81893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51F824-8CB2-4D1D-805D-B2A5B9A6BAF3}">
      <dsp:nvSpPr>
        <dsp:cNvPr id="0" name=""/>
        <dsp:cNvSpPr/>
      </dsp:nvSpPr>
      <dsp:spPr>
        <a:xfrm>
          <a:off x="3599" y="0"/>
          <a:ext cx="7363757" cy="753907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Una vez impactada la respuesta del Ente en el informe  se genera la versión 1.0 del Informe Técnico de Resultados en SharePoint ,  </a:t>
          </a:r>
          <a:r>
            <a:rPr lang="es-MX" sz="1400" kern="1200" baseline="0" dirty="0" smtClean="0"/>
            <a:t>este informe será analizado por ( área financiera , jurídico , secretario técnico y auditor superior) </a:t>
          </a:r>
          <a:endParaRPr lang="es-MX" sz="1400" kern="1200" dirty="0"/>
        </a:p>
      </dsp:txBody>
      <dsp:txXfrm>
        <a:off x="25680" y="22081"/>
        <a:ext cx="7319595" cy="7097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DF201-FA0E-4AB6-A23F-408EE91F2F21}" type="datetimeFigureOut">
              <a:rPr lang="en-US" smtClean="0"/>
              <a:t>11/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CB094F-A4BC-478F-AEBE-74E08AC32A6D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7649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5B589-DFC2-4C46-B465-1411579998F8}" type="datetimeFigureOut">
              <a:rPr lang="en-US" smtClean="0"/>
              <a:t>11/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C1585EA-7F30-47FF-9F68-8C7B5BDB9D50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869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4143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565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3760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71015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7623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6007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65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988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 smtClean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093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1920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40986609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41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3445727" y="0"/>
            <a:ext cx="874627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758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905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937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66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34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355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24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114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640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96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 smtClean="0">
                <a:solidFill>
                  <a:schemeClr val="accent1"/>
                </a:solidFill>
              </a:rPr>
              <a:t>/</a:t>
            </a:r>
            <a:endParaRPr lang="en-US" sz="14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354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39084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4947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6" r:id="rId3"/>
    <p:sldLayoutId id="2147483668" r:id="rId4"/>
    <p:sldLayoutId id="2147483664" r:id="rId5"/>
    <p:sldLayoutId id="2147483667" r:id="rId6"/>
    <p:sldLayoutId id="2147483665" r:id="rId7"/>
    <p:sldLayoutId id="214748366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 userDrawn="1">
          <p15:clr>
            <a:srgbClr val="F26B43"/>
          </p15:clr>
        </p15:guide>
        <p15:guide id="2" pos="189" userDrawn="1">
          <p15:clr>
            <a:srgbClr val="F26B43"/>
          </p15:clr>
        </p15:guide>
        <p15:guide id="3" orient="horz" pos="4156" userDrawn="1">
          <p15:clr>
            <a:srgbClr val="F26B43"/>
          </p15:clr>
        </p15:guide>
        <p15:guide id="4" pos="7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18" Type="http://schemas.openxmlformats.org/officeDocument/2006/relationships/diagramLayout" Target="../diagrams/layout3.xml"/><Relationship Id="rId26" Type="http://schemas.microsoft.com/office/2007/relationships/diagramDrawing" Target="../diagrams/drawing4.xml"/><Relationship Id="rId3" Type="http://schemas.openxmlformats.org/officeDocument/2006/relationships/slideLayout" Target="../slideLayouts/slideLayout3.xml"/><Relationship Id="rId21" Type="http://schemas.microsoft.com/office/2007/relationships/diagramDrawing" Target="../diagrams/drawing3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17" Type="http://schemas.openxmlformats.org/officeDocument/2006/relationships/diagramData" Target="../diagrams/data3.xml"/><Relationship Id="rId25" Type="http://schemas.openxmlformats.org/officeDocument/2006/relationships/diagramColors" Target="../diagrams/colors4.xml"/><Relationship Id="rId2" Type="http://schemas.openxmlformats.org/officeDocument/2006/relationships/tags" Target="../tags/tag12.xml"/><Relationship Id="rId16" Type="http://schemas.microsoft.com/office/2007/relationships/diagramDrawing" Target="../diagrams/drawing2.xml"/><Relationship Id="rId20" Type="http://schemas.openxmlformats.org/officeDocument/2006/relationships/diagramColors" Target="../diagrams/colors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24" Type="http://schemas.openxmlformats.org/officeDocument/2006/relationships/diagramQuickStyle" Target="../diagrams/quickStyle4.xml"/><Relationship Id="rId5" Type="http://schemas.openxmlformats.org/officeDocument/2006/relationships/oleObject" Target="../embeddings/oleObject11.bin"/><Relationship Id="rId15" Type="http://schemas.openxmlformats.org/officeDocument/2006/relationships/diagramColors" Target="../diagrams/colors2.xml"/><Relationship Id="rId23" Type="http://schemas.openxmlformats.org/officeDocument/2006/relationships/diagramLayout" Target="../diagrams/layout4.xml"/><Relationship Id="rId10" Type="http://schemas.openxmlformats.org/officeDocument/2006/relationships/diagramColors" Target="../diagrams/colors1.xml"/><Relationship Id="rId19" Type="http://schemas.openxmlformats.org/officeDocument/2006/relationships/diagramQuickStyle" Target="../diagrams/quickStyle3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Relationship Id="rId22" Type="http://schemas.openxmlformats.org/officeDocument/2006/relationships/diagramData" Target="../diagrams/data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13" Type="http://schemas.openxmlformats.org/officeDocument/2006/relationships/diagramLayout" Target="../diagrams/layout6.xml"/><Relationship Id="rId18" Type="http://schemas.openxmlformats.org/officeDocument/2006/relationships/diagramLayout" Target="../diagrams/layout7.xml"/><Relationship Id="rId26" Type="http://schemas.microsoft.com/office/2007/relationships/diagramDrawing" Target="../diagrams/drawing8.xml"/><Relationship Id="rId3" Type="http://schemas.openxmlformats.org/officeDocument/2006/relationships/slideLayout" Target="../slideLayouts/slideLayout3.xml"/><Relationship Id="rId21" Type="http://schemas.microsoft.com/office/2007/relationships/diagramDrawing" Target="../diagrams/drawing7.xml"/><Relationship Id="rId7" Type="http://schemas.openxmlformats.org/officeDocument/2006/relationships/diagramData" Target="../diagrams/data5.xml"/><Relationship Id="rId12" Type="http://schemas.openxmlformats.org/officeDocument/2006/relationships/diagramData" Target="../diagrams/data6.xml"/><Relationship Id="rId17" Type="http://schemas.openxmlformats.org/officeDocument/2006/relationships/diagramData" Target="../diagrams/data7.xml"/><Relationship Id="rId25" Type="http://schemas.openxmlformats.org/officeDocument/2006/relationships/diagramColors" Target="../diagrams/colors8.xml"/><Relationship Id="rId2" Type="http://schemas.openxmlformats.org/officeDocument/2006/relationships/tags" Target="../tags/tag13.xml"/><Relationship Id="rId16" Type="http://schemas.microsoft.com/office/2007/relationships/diagramDrawing" Target="../diagrams/drawing6.xml"/><Relationship Id="rId20" Type="http://schemas.openxmlformats.org/officeDocument/2006/relationships/diagramColors" Target="../diagrams/colors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diagramDrawing" Target="../diagrams/drawing5.xml"/><Relationship Id="rId24" Type="http://schemas.openxmlformats.org/officeDocument/2006/relationships/diagramQuickStyle" Target="../diagrams/quickStyle8.xml"/><Relationship Id="rId5" Type="http://schemas.openxmlformats.org/officeDocument/2006/relationships/oleObject" Target="../embeddings/oleObject12.bin"/><Relationship Id="rId15" Type="http://schemas.openxmlformats.org/officeDocument/2006/relationships/diagramColors" Target="../diagrams/colors6.xml"/><Relationship Id="rId23" Type="http://schemas.openxmlformats.org/officeDocument/2006/relationships/diagramLayout" Target="../diagrams/layout8.xml"/><Relationship Id="rId10" Type="http://schemas.openxmlformats.org/officeDocument/2006/relationships/diagramColors" Target="../diagrams/colors5.xml"/><Relationship Id="rId19" Type="http://schemas.openxmlformats.org/officeDocument/2006/relationships/diagramQuickStyle" Target="../diagrams/quickStyle7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5.xml"/><Relationship Id="rId14" Type="http://schemas.openxmlformats.org/officeDocument/2006/relationships/diagramQuickStyle" Target="../diagrams/quickStyle6.xml"/><Relationship Id="rId22" Type="http://schemas.openxmlformats.org/officeDocument/2006/relationships/diagramData" Target="../diagrams/data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3815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0"/>
            <a:ext cx="10013795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sp>
        <p:nvSpPr>
          <p:cNvPr id="25" name="Rectangle 24"/>
          <p:cNvSpPr/>
          <p:nvPr/>
        </p:nvSpPr>
        <p:spPr>
          <a:xfrm flipH="1">
            <a:off x="981786" y="1141592"/>
            <a:ext cx="8050223" cy="276998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0" u="none" strike="noStrike" kern="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PROCESO DE AUDITORía</a:t>
            </a:r>
            <a:endParaRPr kumimoji="0" lang="lt-LT" sz="9000" u="none" strike="noStrike" kern="0" cap="all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28584" y="489803"/>
            <a:ext cx="8956626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839" y="4238076"/>
            <a:ext cx="3498116" cy="1363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81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170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hevron 8"/>
          <p:cNvSpPr/>
          <p:nvPr/>
        </p:nvSpPr>
        <p:spPr>
          <a:xfrm>
            <a:off x="8538175" y="854407"/>
            <a:ext cx="1782629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PAA</a:t>
            </a:r>
          </a:p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FINAL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6872534" y="854407"/>
            <a:ext cx="1782629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PAA</a:t>
            </a:r>
          </a:p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PROPUESTO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5184593" y="854407"/>
            <a:ext cx="1782631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DEFINICIÓN</a:t>
            </a:r>
          </a:p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AUDITORÍAS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3444336" y="854407"/>
            <a:ext cx="1844910" cy="783720"/>
          </a:xfrm>
          <a:prstGeom prst="homePlate">
            <a:avLst>
              <a:gd name="adj" fmla="val 2114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APERTURA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67999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5777116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7465056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9130697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5777779" y="260350"/>
            <a:ext cx="596258" cy="597584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7"/>
          <p:cNvSpPr>
            <a:spLocks/>
          </p:cNvSpPr>
          <p:nvPr/>
        </p:nvSpPr>
        <p:spPr bwMode="auto">
          <a:xfrm>
            <a:off x="9130697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57"/>
          <p:cNvSpPr>
            <a:spLocks/>
          </p:cNvSpPr>
          <p:nvPr/>
        </p:nvSpPr>
        <p:spPr bwMode="auto">
          <a:xfrm>
            <a:off x="7465056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4068662" y="260350"/>
            <a:ext cx="596258" cy="597584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105087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00" dirty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1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814204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2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502144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3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167785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4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36" name="Content Placeholder 15"/>
          <p:cNvSpPr txBox="1">
            <a:spLocks/>
          </p:cNvSpPr>
          <p:nvPr/>
        </p:nvSpPr>
        <p:spPr>
          <a:xfrm>
            <a:off x="206185" y="260349"/>
            <a:ext cx="2971914" cy="11646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Programa</a:t>
            </a:r>
          </a:p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Anual de</a:t>
            </a:r>
          </a:p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Auditoria (PAA)</a:t>
            </a:r>
            <a:endParaRPr lang="es-MX" sz="2500" b="0" dirty="0">
              <a:solidFill>
                <a:schemeClr val="bg1"/>
              </a:solidFill>
            </a:endParaRPr>
          </a:p>
        </p:txBody>
      </p:sp>
      <p:sp>
        <p:nvSpPr>
          <p:cNvPr id="37" name="Content Placeholder 15"/>
          <p:cNvSpPr txBox="1">
            <a:spLocks/>
          </p:cNvSpPr>
          <p:nvPr/>
        </p:nvSpPr>
        <p:spPr>
          <a:xfrm>
            <a:off x="206185" y="1638127"/>
            <a:ext cx="2971914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00" i="1" dirty="0" smtClean="0">
                <a:solidFill>
                  <a:schemeClr val="bg1"/>
                </a:solidFill>
              </a:rPr>
              <a:t>Módulo de Planeación</a:t>
            </a:r>
            <a:endParaRPr lang="en-US" sz="2500" i="1" dirty="0">
              <a:solidFill>
                <a:schemeClr val="bg1"/>
              </a:solidFill>
            </a:endParaRPr>
          </a:p>
        </p:txBody>
      </p:sp>
      <p:sp>
        <p:nvSpPr>
          <p:cNvPr id="32" name="Chevron 8"/>
          <p:cNvSpPr/>
          <p:nvPr/>
        </p:nvSpPr>
        <p:spPr>
          <a:xfrm>
            <a:off x="10214427" y="847263"/>
            <a:ext cx="1782629" cy="783720"/>
          </a:xfrm>
          <a:prstGeom prst="chevron">
            <a:avLst>
              <a:gd name="adj" fmla="val 20758"/>
            </a:avLst>
          </a:prstGeom>
          <a:solidFill>
            <a:srgbClr val="FFFB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PAA</a:t>
            </a:r>
          </a:p>
          <a:p>
            <a:pPr algn="ctr"/>
            <a:r>
              <a:rPr lang="pl-PL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TERMINADO</a:t>
            </a:r>
            <a:endParaRPr lang="en-US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33" name="Oval 18"/>
          <p:cNvSpPr/>
          <p:nvPr/>
        </p:nvSpPr>
        <p:spPr>
          <a:xfrm>
            <a:off x="10806949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27"/>
          <p:cNvSpPr>
            <a:spLocks/>
          </p:cNvSpPr>
          <p:nvPr/>
        </p:nvSpPr>
        <p:spPr bwMode="auto">
          <a:xfrm>
            <a:off x="10806949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26"/>
          <p:cNvSpPr/>
          <p:nvPr/>
        </p:nvSpPr>
        <p:spPr>
          <a:xfrm>
            <a:off x="10844037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5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graphicFrame>
        <p:nvGraphicFramePr>
          <p:cNvPr id="40" name="3 Diagrama"/>
          <p:cNvGraphicFramePr/>
          <p:nvPr>
            <p:extLst>
              <p:ext uri="{D42A27DB-BD31-4B8C-83A1-F6EECF244321}">
                <p14:modId xmlns:p14="http://schemas.microsoft.com/office/powerpoint/2010/main" val="298087109"/>
              </p:ext>
            </p:extLst>
          </p:nvPr>
        </p:nvGraphicFramePr>
        <p:xfrm>
          <a:off x="4815424" y="2083748"/>
          <a:ext cx="586865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1" name="4 Diagrama"/>
          <p:cNvGraphicFramePr/>
          <p:nvPr>
            <p:extLst>
              <p:ext uri="{D42A27DB-BD31-4B8C-83A1-F6EECF244321}">
                <p14:modId xmlns:p14="http://schemas.microsoft.com/office/powerpoint/2010/main" val="3775341463"/>
              </p:ext>
            </p:extLst>
          </p:nvPr>
        </p:nvGraphicFramePr>
        <p:xfrm>
          <a:off x="4779420" y="3286904"/>
          <a:ext cx="5976664" cy="1080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42" name="8 Flecha curvada hacia arriba"/>
          <p:cNvSpPr/>
          <p:nvPr/>
        </p:nvSpPr>
        <p:spPr>
          <a:xfrm rot="10800000">
            <a:off x="8448542" y="2898138"/>
            <a:ext cx="870668" cy="339060"/>
          </a:xfrm>
          <a:prstGeom prst="curvedUp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graphicFrame>
        <p:nvGraphicFramePr>
          <p:cNvPr id="43" name="10 Diagrama"/>
          <p:cNvGraphicFramePr/>
          <p:nvPr>
            <p:extLst>
              <p:ext uri="{D42A27DB-BD31-4B8C-83A1-F6EECF244321}">
                <p14:modId xmlns:p14="http://schemas.microsoft.com/office/powerpoint/2010/main" val="2129983595"/>
              </p:ext>
            </p:extLst>
          </p:nvPr>
        </p:nvGraphicFramePr>
        <p:xfrm>
          <a:off x="4779420" y="4388004"/>
          <a:ext cx="5957900" cy="10801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44" name="11 Diagrama"/>
          <p:cNvGraphicFramePr/>
          <p:nvPr>
            <p:extLst>
              <p:ext uri="{D42A27DB-BD31-4B8C-83A1-F6EECF244321}">
                <p14:modId xmlns:p14="http://schemas.microsoft.com/office/powerpoint/2010/main" val="81885675"/>
              </p:ext>
            </p:extLst>
          </p:nvPr>
        </p:nvGraphicFramePr>
        <p:xfrm>
          <a:off x="4779420" y="5540132"/>
          <a:ext cx="5957900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45" name="12 Flecha curvada hacia arriba"/>
          <p:cNvSpPr/>
          <p:nvPr/>
        </p:nvSpPr>
        <p:spPr>
          <a:xfrm rot="10800000">
            <a:off x="6216294" y="2898139"/>
            <a:ext cx="870668" cy="339060"/>
          </a:xfrm>
          <a:prstGeom prst="curvedUp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cxnSp>
        <p:nvCxnSpPr>
          <p:cNvPr id="46" name="Straight Connector 18"/>
          <p:cNvCxnSpPr/>
          <p:nvPr/>
        </p:nvCxnSpPr>
        <p:spPr>
          <a:xfrm>
            <a:off x="288887" y="1543162"/>
            <a:ext cx="76588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0685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1706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hevron 8"/>
          <p:cNvSpPr/>
          <p:nvPr/>
        </p:nvSpPr>
        <p:spPr>
          <a:xfrm>
            <a:off x="8538175" y="854407"/>
            <a:ext cx="1782629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15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INFORME TÉCNICO DE RESULTADOS</a:t>
            </a:r>
            <a:endParaRPr lang="en-US" sz="15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6872534" y="854407"/>
            <a:ext cx="1782629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15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RESPUESTA DEL ENTE</a:t>
            </a:r>
            <a:endParaRPr lang="en-US" sz="15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1" name="Chevron 10"/>
          <p:cNvSpPr/>
          <p:nvPr/>
        </p:nvSpPr>
        <p:spPr>
          <a:xfrm>
            <a:off x="5184593" y="854407"/>
            <a:ext cx="1782631" cy="783720"/>
          </a:xfrm>
          <a:prstGeom prst="chevron">
            <a:avLst>
              <a:gd name="adj" fmla="val 20758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15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ENVÍO AL ENTE</a:t>
            </a:r>
            <a:endParaRPr lang="en-US" sz="15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2" name="Pentagon 11"/>
          <p:cNvSpPr/>
          <p:nvPr/>
        </p:nvSpPr>
        <p:spPr>
          <a:xfrm>
            <a:off x="3444336" y="854407"/>
            <a:ext cx="1844910" cy="783720"/>
          </a:xfrm>
          <a:prstGeom prst="homePlate">
            <a:avLst>
              <a:gd name="adj" fmla="val 2114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15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INFORME OBSERVACIONES</a:t>
            </a:r>
            <a:endParaRPr lang="en-US" sz="15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067999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5777116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>
            <a:off x="7465056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9130697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5777779" y="260350"/>
            <a:ext cx="596258" cy="597584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27"/>
          <p:cNvSpPr>
            <a:spLocks/>
          </p:cNvSpPr>
          <p:nvPr/>
        </p:nvSpPr>
        <p:spPr bwMode="auto">
          <a:xfrm>
            <a:off x="9130697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57"/>
          <p:cNvSpPr>
            <a:spLocks/>
          </p:cNvSpPr>
          <p:nvPr/>
        </p:nvSpPr>
        <p:spPr bwMode="auto">
          <a:xfrm>
            <a:off x="7465056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4068662" y="260350"/>
            <a:ext cx="596258" cy="597584"/>
          </a:xfrm>
          <a:custGeom>
            <a:avLst/>
            <a:gdLst>
              <a:gd name="T0" fmla="*/ 109 w 450"/>
              <a:gd name="T1" fmla="*/ 32 h 451"/>
              <a:gd name="T2" fmla="*/ 225 w 450"/>
              <a:gd name="T3" fmla="*/ 0 h 451"/>
              <a:gd name="T4" fmla="*/ 450 w 450"/>
              <a:gd name="T5" fmla="*/ 226 h 451"/>
              <a:gd name="T6" fmla="*/ 225 w 450"/>
              <a:gd name="T7" fmla="*/ 451 h 451"/>
              <a:gd name="T8" fmla="*/ 0 w 450"/>
              <a:gd name="T9" fmla="*/ 226 h 451"/>
              <a:gd name="T10" fmla="*/ 26 w 450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0" h="451">
                <a:moveTo>
                  <a:pt x="109" y="32"/>
                </a:moveTo>
                <a:cubicBezTo>
                  <a:pt x="143" y="12"/>
                  <a:pt x="183" y="0"/>
                  <a:pt x="225" y="0"/>
                </a:cubicBezTo>
                <a:cubicBezTo>
                  <a:pt x="349" y="0"/>
                  <a:pt x="450" y="101"/>
                  <a:pt x="450" y="226"/>
                </a:cubicBezTo>
                <a:cubicBezTo>
                  <a:pt x="450" y="350"/>
                  <a:pt x="349" y="451"/>
                  <a:pt x="225" y="451"/>
                </a:cubicBezTo>
                <a:cubicBezTo>
                  <a:pt x="100" y="451"/>
                  <a:pt x="0" y="350"/>
                  <a:pt x="0" y="226"/>
                </a:cubicBezTo>
                <a:cubicBezTo>
                  <a:pt x="0" y="187"/>
                  <a:pt x="9" y="151"/>
                  <a:pt x="26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4105087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300" dirty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1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814204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2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502144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3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167785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4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36" name="Content Placeholder 15"/>
          <p:cNvSpPr txBox="1">
            <a:spLocks/>
          </p:cNvSpPr>
          <p:nvPr/>
        </p:nvSpPr>
        <p:spPr>
          <a:xfrm>
            <a:off x="206185" y="260349"/>
            <a:ext cx="2971914" cy="116468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INFORMES</a:t>
            </a:r>
          </a:p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DE</a:t>
            </a:r>
            <a:r>
              <a:rPr lang="es-MX" sz="2500" b="0" dirty="0">
                <a:solidFill>
                  <a:schemeClr val="bg1"/>
                </a:solidFill>
              </a:rPr>
              <a:t> </a:t>
            </a:r>
            <a:r>
              <a:rPr lang="es-MX" sz="2500" b="0" dirty="0" smtClean="0">
                <a:solidFill>
                  <a:schemeClr val="bg1"/>
                </a:solidFill>
              </a:rPr>
              <a:t>AUDITORÍA</a:t>
            </a:r>
          </a:p>
          <a:p>
            <a:pPr lvl="0" algn="ctr"/>
            <a:r>
              <a:rPr lang="es-MX" sz="2500" b="0" dirty="0" smtClean="0">
                <a:solidFill>
                  <a:schemeClr val="bg1"/>
                </a:solidFill>
              </a:rPr>
              <a:t>SHAREPOINT</a:t>
            </a:r>
            <a:endParaRPr lang="es-MX" sz="2500" b="0" dirty="0">
              <a:solidFill>
                <a:schemeClr val="bg1"/>
              </a:solidFill>
            </a:endParaRPr>
          </a:p>
        </p:txBody>
      </p:sp>
      <p:sp>
        <p:nvSpPr>
          <p:cNvPr id="32" name="Chevron 8"/>
          <p:cNvSpPr/>
          <p:nvPr/>
        </p:nvSpPr>
        <p:spPr>
          <a:xfrm>
            <a:off x="10214427" y="847263"/>
            <a:ext cx="1782629" cy="783720"/>
          </a:xfrm>
          <a:prstGeom prst="chevron">
            <a:avLst>
              <a:gd name="adj" fmla="val 20758"/>
            </a:avLst>
          </a:prstGeom>
          <a:solidFill>
            <a:srgbClr val="FFFB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/>
            <a:r>
              <a:rPr lang="pl-PL" sz="1500" dirty="0" smtClean="0">
                <a:solidFill>
                  <a:schemeClr val="accent4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ENVÍO A COMISIÓN</a:t>
            </a:r>
            <a:endParaRPr lang="en-US" sz="1500" dirty="0">
              <a:solidFill>
                <a:schemeClr val="accent4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sp>
        <p:nvSpPr>
          <p:cNvPr id="33" name="Oval 18"/>
          <p:cNvSpPr/>
          <p:nvPr/>
        </p:nvSpPr>
        <p:spPr>
          <a:xfrm>
            <a:off x="10806949" y="260350"/>
            <a:ext cx="597584" cy="59758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27"/>
          <p:cNvSpPr>
            <a:spLocks/>
          </p:cNvSpPr>
          <p:nvPr/>
        </p:nvSpPr>
        <p:spPr bwMode="auto">
          <a:xfrm>
            <a:off x="10806949" y="260350"/>
            <a:ext cx="597584" cy="597584"/>
          </a:xfrm>
          <a:custGeom>
            <a:avLst/>
            <a:gdLst>
              <a:gd name="T0" fmla="*/ 110 w 451"/>
              <a:gd name="T1" fmla="*/ 32 h 451"/>
              <a:gd name="T2" fmla="*/ 225 w 451"/>
              <a:gd name="T3" fmla="*/ 0 h 451"/>
              <a:gd name="T4" fmla="*/ 451 w 451"/>
              <a:gd name="T5" fmla="*/ 226 h 451"/>
              <a:gd name="T6" fmla="*/ 225 w 451"/>
              <a:gd name="T7" fmla="*/ 451 h 451"/>
              <a:gd name="T8" fmla="*/ 0 w 451"/>
              <a:gd name="T9" fmla="*/ 226 h 451"/>
              <a:gd name="T10" fmla="*/ 27 w 451"/>
              <a:gd name="T11" fmla="*/ 119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51" h="451">
                <a:moveTo>
                  <a:pt x="110" y="32"/>
                </a:moveTo>
                <a:cubicBezTo>
                  <a:pt x="144" y="12"/>
                  <a:pt x="183" y="0"/>
                  <a:pt x="225" y="0"/>
                </a:cubicBezTo>
                <a:cubicBezTo>
                  <a:pt x="350" y="0"/>
                  <a:pt x="451" y="101"/>
                  <a:pt x="451" y="226"/>
                </a:cubicBezTo>
                <a:cubicBezTo>
                  <a:pt x="451" y="350"/>
                  <a:pt x="350" y="451"/>
                  <a:pt x="225" y="451"/>
                </a:cubicBezTo>
                <a:cubicBezTo>
                  <a:pt x="101" y="451"/>
                  <a:pt x="0" y="350"/>
                  <a:pt x="0" y="226"/>
                </a:cubicBezTo>
                <a:cubicBezTo>
                  <a:pt x="0" y="187"/>
                  <a:pt x="10" y="151"/>
                  <a:pt x="27" y="119"/>
                </a:cubicBezTo>
              </a:path>
            </a:pathLst>
          </a:custGeom>
          <a:noFill/>
          <a:ln w="31750" cap="rnd">
            <a:solidFill>
              <a:srgbClr val="19191E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Rectangle 26"/>
          <p:cNvSpPr/>
          <p:nvPr/>
        </p:nvSpPr>
        <p:spPr>
          <a:xfrm>
            <a:off x="10844037" y="336004"/>
            <a:ext cx="523409" cy="4462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300" dirty="0" smtClean="0">
                <a:solidFill>
                  <a:schemeClr val="accent1"/>
                </a:solidFill>
                <a:latin typeface="Source Sans Pro Black" panose="020B0803030403020204" pitchFamily="34" charset="-18"/>
                <a:ea typeface="Bebas Neue" charset="0"/>
                <a:cs typeface="Bebas Neue" charset="0"/>
              </a:rPr>
              <a:t>05</a:t>
            </a:r>
            <a:endParaRPr lang="en-US" sz="2300" dirty="0">
              <a:solidFill>
                <a:schemeClr val="accent1"/>
              </a:solidFill>
              <a:latin typeface="Source Sans Pro Black" panose="020B0803030403020204" pitchFamily="34" charset="-18"/>
              <a:ea typeface="Bebas Neue" charset="0"/>
              <a:cs typeface="Bebas Neue" charset="0"/>
            </a:endParaRPr>
          </a:p>
        </p:txBody>
      </p:sp>
      <p:graphicFrame>
        <p:nvGraphicFramePr>
          <p:cNvPr id="31" name="3 Diagrama"/>
          <p:cNvGraphicFramePr/>
          <p:nvPr>
            <p:extLst>
              <p:ext uri="{D42A27DB-BD31-4B8C-83A1-F6EECF244321}">
                <p14:modId xmlns:p14="http://schemas.microsoft.com/office/powerpoint/2010/main" val="1084445211"/>
              </p:ext>
            </p:extLst>
          </p:nvPr>
        </p:nvGraphicFramePr>
        <p:xfrm>
          <a:off x="4035891" y="1828174"/>
          <a:ext cx="7370956" cy="7539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4" name="4 Diagrama"/>
          <p:cNvGraphicFramePr/>
          <p:nvPr>
            <p:extLst>
              <p:ext uri="{D42A27DB-BD31-4B8C-83A1-F6EECF244321}">
                <p14:modId xmlns:p14="http://schemas.microsoft.com/office/powerpoint/2010/main" val="576949188"/>
              </p:ext>
            </p:extLst>
          </p:nvPr>
        </p:nvGraphicFramePr>
        <p:xfrm>
          <a:off x="4035891" y="2733757"/>
          <a:ext cx="7370956" cy="811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38" name="10 Diagrama"/>
          <p:cNvGraphicFramePr/>
          <p:nvPr>
            <p:extLst>
              <p:ext uri="{D42A27DB-BD31-4B8C-83A1-F6EECF244321}">
                <p14:modId xmlns:p14="http://schemas.microsoft.com/office/powerpoint/2010/main" val="896336511"/>
              </p:ext>
            </p:extLst>
          </p:nvPr>
        </p:nvGraphicFramePr>
        <p:xfrm>
          <a:off x="4035891" y="3697333"/>
          <a:ext cx="7370956" cy="869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46" name="11 Diagrama"/>
          <p:cNvGraphicFramePr/>
          <p:nvPr>
            <p:extLst>
              <p:ext uri="{D42A27DB-BD31-4B8C-83A1-F6EECF244321}">
                <p14:modId xmlns:p14="http://schemas.microsoft.com/office/powerpoint/2010/main" val="129956672"/>
              </p:ext>
            </p:extLst>
          </p:nvPr>
        </p:nvGraphicFramePr>
        <p:xfrm>
          <a:off x="4035891" y="4718901"/>
          <a:ext cx="7370956" cy="7539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pSp>
        <p:nvGrpSpPr>
          <p:cNvPr id="47" name="9 Grupo"/>
          <p:cNvGrpSpPr/>
          <p:nvPr/>
        </p:nvGrpSpPr>
        <p:grpSpPr>
          <a:xfrm>
            <a:off x="4035891" y="5624482"/>
            <a:ext cx="7370956" cy="753907"/>
            <a:chOff x="2909" y="0"/>
            <a:chExt cx="5952081" cy="936104"/>
          </a:xfrm>
          <a:solidFill>
            <a:srgbClr val="FF9933"/>
          </a:solidFill>
        </p:grpSpPr>
        <p:sp>
          <p:nvSpPr>
            <p:cNvPr id="48" name="13 Rectángulo redondeado"/>
            <p:cNvSpPr/>
            <p:nvPr/>
          </p:nvSpPr>
          <p:spPr>
            <a:xfrm>
              <a:off x="2909" y="0"/>
              <a:ext cx="5952081" cy="93610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14 Rectángulo"/>
            <p:cNvSpPr/>
            <p:nvPr/>
          </p:nvSpPr>
          <p:spPr>
            <a:xfrm>
              <a:off x="30327" y="27418"/>
              <a:ext cx="5897245" cy="8812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400" kern="1200" dirty="0" smtClean="0"/>
                <a:t>La versión final que será enviada al H. Congreso de Chihuahua se copia en SharePoint </a:t>
              </a:r>
              <a:endParaRPr lang="es-MX" sz="1400" kern="1200" dirty="0"/>
            </a:p>
          </p:txBody>
        </p:sp>
      </p:grpSp>
      <p:cxnSp>
        <p:nvCxnSpPr>
          <p:cNvPr id="50" name="Straight Connector 18"/>
          <p:cNvCxnSpPr/>
          <p:nvPr/>
        </p:nvCxnSpPr>
        <p:spPr>
          <a:xfrm>
            <a:off x="288887" y="1530624"/>
            <a:ext cx="76588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ontent Placeholder 15"/>
          <p:cNvSpPr txBox="1">
            <a:spLocks/>
          </p:cNvSpPr>
          <p:nvPr/>
        </p:nvSpPr>
        <p:spPr>
          <a:xfrm>
            <a:off x="206185" y="1650002"/>
            <a:ext cx="2971914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00" i="1" dirty="0" smtClean="0">
                <a:solidFill>
                  <a:schemeClr val="bg1"/>
                </a:solidFill>
              </a:rPr>
              <a:t>Módulo de </a:t>
            </a:r>
            <a:r>
              <a:rPr lang="en-US" sz="2500" i="1" dirty="0">
                <a:solidFill>
                  <a:schemeClr val="bg1"/>
                </a:solidFill>
              </a:rPr>
              <a:t> </a:t>
            </a:r>
            <a:r>
              <a:rPr lang="en-US" sz="2500" i="1" dirty="0" smtClean="0">
                <a:solidFill>
                  <a:schemeClr val="bg1"/>
                </a:solidFill>
              </a:rPr>
              <a:t>Auditoría</a:t>
            </a:r>
            <a:endParaRPr lang="en-US" sz="25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17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346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Placeholder 28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36" name="Rectangle 35"/>
          <p:cNvSpPr/>
          <p:nvPr/>
        </p:nvSpPr>
        <p:spPr>
          <a:xfrm>
            <a:off x="3734126" y="-8548"/>
            <a:ext cx="8457873" cy="686654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4" name="Rectangle 23"/>
          <p:cNvSpPr/>
          <p:nvPr/>
        </p:nvSpPr>
        <p:spPr>
          <a:xfrm flipH="1">
            <a:off x="0" y="-8549"/>
            <a:ext cx="3734126" cy="6866549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sz="300"/>
          </a:p>
        </p:txBody>
      </p:sp>
      <p:cxnSp>
        <p:nvCxnSpPr>
          <p:cNvPr id="19" name="Straight Connector 18"/>
          <p:cNvCxnSpPr/>
          <p:nvPr/>
        </p:nvCxnSpPr>
        <p:spPr>
          <a:xfrm>
            <a:off x="300038" y="1432906"/>
            <a:ext cx="76588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15"/>
          <p:cNvSpPr txBox="1">
            <a:spLocks/>
          </p:cNvSpPr>
          <p:nvPr/>
        </p:nvSpPr>
        <p:spPr>
          <a:xfrm>
            <a:off x="300038" y="182522"/>
            <a:ext cx="3165651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36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500" b="0" dirty="0" smtClean="0">
                <a:solidFill>
                  <a:schemeClr val="bg1"/>
                </a:solidFill>
              </a:rPr>
              <a:t>SEGUIMIENTO DE AUDITORÍAS</a:t>
            </a:r>
            <a:endParaRPr lang="en-US" sz="2500" b="0" dirty="0">
              <a:solidFill>
                <a:schemeClr val="bg1"/>
              </a:solidFill>
            </a:endParaRPr>
          </a:p>
        </p:txBody>
      </p:sp>
      <p:sp>
        <p:nvSpPr>
          <p:cNvPr id="37" name="Content Placeholder 15"/>
          <p:cNvSpPr txBox="1">
            <a:spLocks/>
          </p:cNvSpPr>
          <p:nvPr/>
        </p:nvSpPr>
        <p:spPr>
          <a:xfrm>
            <a:off x="300038" y="1599045"/>
            <a:ext cx="2971914" cy="4197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500" i="1" dirty="0" smtClean="0">
                <a:solidFill>
                  <a:schemeClr val="bg1"/>
                </a:solidFill>
              </a:rPr>
              <a:t>Módulo de Seguimiento</a:t>
            </a:r>
            <a:endParaRPr lang="en-US" sz="2500" i="1" dirty="0">
              <a:solidFill>
                <a:schemeClr val="bg1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125" y="574936"/>
            <a:ext cx="8457874" cy="573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22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25674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Source Sans Pro Light" panose="020B0403030403020204" pitchFamily="34" charset="-18"/>
              <a:sym typeface="Source Sans Pro Light" panose="020B0403030403020204" pitchFamily="34" charset="-18"/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91" r="32979"/>
          <a:stretch/>
        </p:blipFill>
        <p:spPr/>
      </p:pic>
      <p:sp>
        <p:nvSpPr>
          <p:cNvPr id="25" name="Rectangle 24"/>
          <p:cNvSpPr/>
          <p:nvPr/>
        </p:nvSpPr>
        <p:spPr>
          <a:xfrm>
            <a:off x="6639261" y="1288143"/>
            <a:ext cx="3846286" cy="428171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Content Placeholder 15"/>
          <p:cNvSpPr txBox="1">
            <a:spLocks/>
          </p:cNvSpPr>
          <p:nvPr/>
        </p:nvSpPr>
        <p:spPr>
          <a:xfrm>
            <a:off x="6946838" y="2321005"/>
            <a:ext cx="3231132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 smtClean="0">
                <a:solidFill>
                  <a:schemeClr val="tx1"/>
                </a:solidFill>
              </a:rPr>
              <a:t>Integración de módulos una sola plataforma</a:t>
            </a:r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85" name="Oval 2"/>
          <p:cNvSpPr/>
          <p:nvPr/>
        </p:nvSpPr>
        <p:spPr>
          <a:xfrm>
            <a:off x="764362" y="1500158"/>
            <a:ext cx="2801254" cy="2801254"/>
          </a:xfrm>
          <a:prstGeom prst="ellipse">
            <a:avLst/>
          </a:prstGeom>
          <a:ln w="635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pl-PL" sz="22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PROCESO DE</a:t>
            </a:r>
          </a:p>
          <a:p>
            <a:pPr algn="ctr"/>
            <a:r>
              <a:rPr lang="pl-PL" sz="22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AUDITORÍA</a:t>
            </a:r>
          </a:p>
          <a:p>
            <a:pPr algn="ctr"/>
            <a:r>
              <a:rPr lang="pl-PL" sz="22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SHAREPOINT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94" name="Oval 19"/>
          <p:cNvSpPr/>
          <p:nvPr/>
        </p:nvSpPr>
        <p:spPr>
          <a:xfrm>
            <a:off x="3112000" y="1500158"/>
            <a:ext cx="3035090" cy="2872022"/>
          </a:xfrm>
          <a:prstGeom prst="ellipse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Oval 20"/>
          <p:cNvSpPr/>
          <p:nvPr/>
        </p:nvSpPr>
        <p:spPr>
          <a:xfrm>
            <a:off x="1893821" y="3307808"/>
            <a:ext cx="2868934" cy="2868914"/>
          </a:xfrm>
          <a:prstGeom prst="ellipse">
            <a:avLst/>
          </a:prstGeom>
          <a:noFill/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ángulo 1"/>
          <p:cNvSpPr/>
          <p:nvPr/>
        </p:nvSpPr>
        <p:spPr>
          <a:xfrm>
            <a:off x="3805635" y="2516065"/>
            <a:ext cx="18914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000" dirty="0" smtClean="0">
                <a:latin typeface="Source Sans Pro Black" panose="020B0803030403020204" pitchFamily="34" charset="-18"/>
              </a:rPr>
              <a:t>MÓDULO DE PLANEACIÓN</a:t>
            </a:r>
            <a:endParaRPr lang="en-US" sz="2000" dirty="0"/>
          </a:p>
        </p:txBody>
      </p:sp>
      <p:sp>
        <p:nvSpPr>
          <p:cNvPr id="98" name="Rectángulo 97"/>
          <p:cNvSpPr/>
          <p:nvPr/>
        </p:nvSpPr>
        <p:spPr>
          <a:xfrm>
            <a:off x="1756822" y="4323715"/>
            <a:ext cx="31429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200" dirty="0" smtClean="0">
                <a:latin typeface="Source Sans Pro Black" panose="020B0803030403020204" pitchFamily="34" charset="-18"/>
              </a:rPr>
              <a:t>MÓDULO DE</a:t>
            </a:r>
            <a:endParaRPr lang="es-MX" sz="2200" dirty="0" smtClean="0">
              <a:latin typeface="Source Sans Pro Black" panose="020B0803030403020204" pitchFamily="34" charset="-18"/>
            </a:endParaRPr>
          </a:p>
          <a:p>
            <a:pPr algn="ctr"/>
            <a:r>
              <a:rPr lang="pl-PL" sz="2200" dirty="0" smtClean="0">
                <a:latin typeface="Source Sans Pro Black" panose="020B0803030403020204" pitchFamily="34" charset="-18"/>
              </a:rPr>
              <a:t> SEGUIMIENTO</a:t>
            </a:r>
            <a:endParaRPr lang="en-US" sz="2200" dirty="0"/>
          </a:p>
        </p:txBody>
      </p:sp>
      <p:sp>
        <p:nvSpPr>
          <p:cNvPr id="99" name="Rectángulo 98"/>
          <p:cNvSpPr/>
          <p:nvPr/>
        </p:nvSpPr>
        <p:spPr>
          <a:xfrm>
            <a:off x="686492" y="413808"/>
            <a:ext cx="5283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800" dirty="0" err="1">
                <a:latin typeface="Source Sans Pro Black" panose="020B0803030403020204" pitchFamily="34" charset="-18"/>
              </a:rPr>
              <a:t>Sistema</a:t>
            </a:r>
            <a:r>
              <a:rPr lang="pl-PL" sz="2800" dirty="0">
                <a:latin typeface="Source Sans Pro Black" panose="020B0803030403020204" pitchFamily="34" charset="-18"/>
              </a:rPr>
              <a:t> </a:t>
            </a:r>
            <a:r>
              <a:rPr lang="pl-PL" sz="2800" dirty="0" err="1" smtClean="0">
                <a:latin typeface="Source Sans Pro Black" panose="020B0803030403020204" pitchFamily="34" charset="-18"/>
              </a:rPr>
              <a:t>Integral</a:t>
            </a:r>
            <a:r>
              <a:rPr lang="pl-PL" sz="2800" dirty="0">
                <a:latin typeface="Source Sans Pro Black" panose="020B0803030403020204" pitchFamily="34" charset="-18"/>
              </a:rPr>
              <a:t> </a:t>
            </a:r>
            <a:r>
              <a:rPr lang="pl-PL" sz="2800" dirty="0" smtClean="0">
                <a:latin typeface="Source Sans Pro Black" panose="020B0803030403020204" pitchFamily="34" charset="-18"/>
              </a:rPr>
              <a:t>de </a:t>
            </a:r>
            <a:r>
              <a:rPr lang="pl-PL" sz="2800" dirty="0" err="1" smtClean="0">
                <a:latin typeface="Source Sans Pro Black" panose="020B0803030403020204" pitchFamily="34" charset="-18"/>
              </a:rPr>
              <a:t>Auditoría</a:t>
            </a:r>
            <a:r>
              <a:rPr lang="pl-PL" sz="2800" dirty="0" smtClean="0">
                <a:latin typeface="Source Sans Pro Black" panose="020B0803030403020204" pitchFamily="34" charset="-18"/>
              </a:rPr>
              <a:t> </a:t>
            </a:r>
            <a:r>
              <a:rPr lang="pl-PL" sz="2800" dirty="0">
                <a:latin typeface="Source Sans Pro Black" panose="020B0803030403020204" pitchFamily="34" charset="-18"/>
              </a:rPr>
              <a:t>ASE Chihuahua</a:t>
            </a:r>
          </a:p>
        </p:txBody>
      </p:sp>
    </p:spTree>
    <p:extLst>
      <p:ext uri="{BB962C8B-B14F-4D97-AF65-F5344CB8AC3E}">
        <p14:creationId xmlns:p14="http://schemas.microsoft.com/office/powerpoint/2010/main" val="64321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n 2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-1856"/>
            <a:ext cx="12192000" cy="6858000"/>
          </a:xfrm>
          <a:prstGeom prst="rect">
            <a:avLst/>
          </a:prstGeom>
        </p:spPr>
      </p:pic>
      <p:sp>
        <p:nvSpPr>
          <p:cNvPr id="30" name="Rectangle 24"/>
          <p:cNvSpPr/>
          <p:nvPr/>
        </p:nvSpPr>
        <p:spPr>
          <a:xfrm>
            <a:off x="0" y="-19455"/>
            <a:ext cx="12192000" cy="6893199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64" name="Freeform 51"/>
          <p:cNvSpPr/>
          <p:nvPr/>
        </p:nvSpPr>
        <p:spPr>
          <a:xfrm rot="16200000" flipV="1">
            <a:off x="4837013" y="4063399"/>
            <a:ext cx="1532096" cy="1230198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4642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 51"/>
          <p:cNvSpPr/>
          <p:nvPr/>
        </p:nvSpPr>
        <p:spPr>
          <a:xfrm flipH="1">
            <a:off x="6795232" y="660338"/>
            <a:ext cx="1039140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4362547" y="727910"/>
            <a:ext cx="2102278" cy="1792779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ontent Placeholder 15"/>
          <p:cNvSpPr txBox="1">
            <a:spLocks/>
          </p:cNvSpPr>
          <p:nvPr/>
        </p:nvSpPr>
        <p:spPr>
          <a:xfrm>
            <a:off x="7882318" y="395383"/>
            <a:ext cx="1075994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smtClean="0">
                <a:latin typeface="Source Sans Pro Black" panose="020B0803030403020204" pitchFamily="34" charset="-18"/>
              </a:rPr>
              <a:t>Portal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 smtClean="0">
                <a:latin typeface="Source Sans Pro Black" panose="020B0803030403020204" pitchFamily="34" charset="-18"/>
              </a:rPr>
              <a:t>Auditoría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1" name="Content Placeholder 15"/>
          <p:cNvSpPr txBox="1">
            <a:spLocks/>
          </p:cNvSpPr>
          <p:nvPr/>
        </p:nvSpPr>
        <p:spPr>
          <a:xfrm>
            <a:off x="8482868" y="1014414"/>
            <a:ext cx="2293820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Capacita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a la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Administra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Pública</a:t>
            </a:r>
            <a:r>
              <a:rPr lang="pl-PL" sz="1500" b="1" cap="all" dirty="0">
                <a:latin typeface="Source Sans Pro Black" panose="020B0803030403020204" pitchFamily="34" charset="-18"/>
              </a:rPr>
              <a:t> (SICAP) </a:t>
            </a:r>
            <a:endParaRPr lang="pl-PL" sz="1500" b="1" cap="all" dirty="0" smtClean="0">
              <a:latin typeface="Source Sans Pro Black" panose="020B0803030403020204" pitchFamily="34" charset="-18"/>
            </a:endParaRPr>
          </a:p>
        </p:txBody>
      </p:sp>
      <p:sp>
        <p:nvSpPr>
          <p:cNvPr id="35" name="Content Placeholder 15"/>
          <p:cNvSpPr txBox="1">
            <a:spLocks/>
          </p:cNvSpPr>
          <p:nvPr/>
        </p:nvSpPr>
        <p:spPr>
          <a:xfrm>
            <a:off x="8307279" y="2451227"/>
            <a:ext cx="2091997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smtClean="0">
                <a:latin typeface="Source Sans Pro Black" panose="020B0803030403020204" pitchFamily="34" charset="-18"/>
              </a:rPr>
              <a:t>SharePoint </a:t>
            </a:r>
            <a:r>
              <a:rPr lang="pl-PL" sz="1500" b="1" cap="all" dirty="0">
                <a:latin typeface="Source Sans Pro Black" panose="020B0803030403020204" pitchFamily="34" charset="-18"/>
              </a:rPr>
              <a:t>Foundation 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2013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6" name="Content Placeholder 15"/>
          <p:cNvSpPr txBox="1">
            <a:spLocks/>
          </p:cNvSpPr>
          <p:nvPr/>
        </p:nvSpPr>
        <p:spPr>
          <a:xfrm>
            <a:off x="8668900" y="3815862"/>
            <a:ext cx="2140484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Planea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y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Seguimiento</a:t>
            </a:r>
            <a:r>
              <a:rPr lang="pl-PL" sz="1500" b="1" cap="all" dirty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SPS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7" name="Content Placeholder 15"/>
          <p:cNvSpPr txBox="1">
            <a:spLocks/>
          </p:cNvSpPr>
          <p:nvPr/>
        </p:nvSpPr>
        <p:spPr>
          <a:xfrm>
            <a:off x="2351219" y="585079"/>
            <a:ext cx="1890550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Denuncia</a:t>
            </a:r>
            <a:r>
              <a:rPr lang="pl-PL" sz="1500" b="1" cap="all" dirty="0">
                <a:latin typeface="Source Sans Pro Black" panose="020B0803030403020204" pitchFamily="34" charset="-18"/>
              </a:rPr>
              <a:t> y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Participa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 err="1" smtClean="0">
                <a:latin typeface="Source Sans Pro Black" panose="020B0803030403020204" pitchFamily="34" charset="-18"/>
              </a:rPr>
              <a:t>Ciudadana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8" name="Content Placeholder 15"/>
          <p:cNvSpPr txBox="1">
            <a:spLocks/>
          </p:cNvSpPr>
          <p:nvPr/>
        </p:nvSpPr>
        <p:spPr>
          <a:xfrm>
            <a:off x="8357048" y="4732280"/>
            <a:ext cx="1803044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Desarrollo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l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>
                <a:latin typeface="Source Sans Pro Black" panose="020B0803030403020204" pitchFamily="34" charset="-18"/>
              </a:rPr>
              <a:t> de </a:t>
            </a:r>
            <a:r>
              <a:rPr lang="pl-PL" sz="1500" b="1" cap="all" dirty="0" err="1" smtClean="0">
                <a:latin typeface="Source Sans Pro Black" panose="020B0803030403020204" pitchFamily="34" charset="-18"/>
              </a:rPr>
              <a:t>Transparencia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39" name="Content Placeholder 15"/>
          <p:cNvSpPr txBox="1">
            <a:spLocks/>
          </p:cNvSpPr>
          <p:nvPr/>
        </p:nvSpPr>
        <p:spPr>
          <a:xfrm>
            <a:off x="1959741" y="4861866"/>
            <a:ext cx="205982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registro</a:t>
            </a:r>
            <a:r>
              <a:rPr lang="pl-PL" sz="1500" b="1" cap="all" dirty="0">
                <a:latin typeface="Source Sans Pro Black" panose="020B0803030403020204" pitchFamily="34" charset="-18"/>
              </a:rPr>
              <a:t> 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Servicios</a:t>
            </a:r>
            <a:r>
              <a:rPr lang="pl-PL" sz="1500" b="1" cap="all" dirty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ROWÍ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0" name="Content Placeholder 15"/>
          <p:cNvSpPr txBox="1">
            <a:spLocks/>
          </p:cNvSpPr>
          <p:nvPr/>
        </p:nvSpPr>
        <p:spPr>
          <a:xfrm>
            <a:off x="5169977" y="5585968"/>
            <a:ext cx="19264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Sistema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Evalua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al Control Interno 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SECI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1" name="Content Placeholder 15"/>
          <p:cNvSpPr txBox="1">
            <a:spLocks/>
          </p:cNvSpPr>
          <p:nvPr/>
        </p:nvSpPr>
        <p:spPr>
          <a:xfrm>
            <a:off x="2300151" y="1660697"/>
            <a:ext cx="1592453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Índice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Rendición</a:t>
            </a:r>
            <a:r>
              <a:rPr lang="pl-PL" sz="1500" b="1" cap="all" dirty="0">
                <a:latin typeface="Source Sans Pro Black" panose="020B0803030403020204" pitchFamily="34" charset="-18"/>
              </a:rPr>
              <a:t> de </a:t>
            </a:r>
            <a:r>
              <a:rPr lang="pl-PL" sz="1500" b="1" cap="all" dirty="0" err="1">
                <a:latin typeface="Source Sans Pro Black" panose="020B0803030403020204" pitchFamily="34" charset="-18"/>
              </a:rPr>
              <a:t>Cuentas</a:t>
            </a:r>
            <a:r>
              <a:rPr lang="pl-PL" sz="1500" b="1" cap="all" dirty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IRC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3" name="Content Placeholder 15"/>
          <p:cNvSpPr txBox="1">
            <a:spLocks/>
          </p:cNvSpPr>
          <p:nvPr/>
        </p:nvSpPr>
        <p:spPr>
          <a:xfrm>
            <a:off x="2300151" y="4078408"/>
            <a:ext cx="1280114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500" b="1" cap="all" dirty="0" err="1" smtClean="0">
                <a:latin typeface="Source Sans Pro Black" panose="020B0803030403020204" pitchFamily="34" charset="-18"/>
              </a:rPr>
              <a:t>SystemZilla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5" name="Content Placeholder 15"/>
          <p:cNvSpPr txBox="1">
            <a:spLocks/>
          </p:cNvSpPr>
          <p:nvPr/>
        </p:nvSpPr>
        <p:spPr>
          <a:xfrm>
            <a:off x="2446562" y="3017179"/>
            <a:ext cx="1175132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1500" b="1" cap="all" dirty="0" err="1" smtClean="0">
                <a:latin typeface="Source Sans Pro Black" panose="020B0803030403020204" pitchFamily="34" charset="-18"/>
              </a:rPr>
              <a:t>Catálogo</a:t>
            </a:r>
            <a:r>
              <a:rPr lang="pl-PL" sz="1500" b="1" cap="all" dirty="0" smtClean="0">
                <a:latin typeface="Source Sans Pro Black" panose="020B0803030403020204" pitchFamily="34" charset="-18"/>
              </a:rPr>
              <a:t> </a:t>
            </a:r>
            <a:r>
              <a:rPr lang="pl-PL" sz="1500" b="1" cap="all" dirty="0">
                <a:latin typeface="Source Sans Pro Black" panose="020B0803030403020204" pitchFamily="34" charset="-18"/>
              </a:rPr>
              <a:t>de </a:t>
            </a:r>
            <a:r>
              <a:rPr lang="pl-PL" sz="1500" b="1" cap="all" dirty="0" err="1" smtClean="0">
                <a:latin typeface="Source Sans Pro Black" panose="020B0803030403020204" pitchFamily="34" charset="-18"/>
              </a:rPr>
              <a:t>Entes</a:t>
            </a:r>
            <a:endParaRPr lang="en-US" sz="1500" b="1" dirty="0">
              <a:latin typeface="Source Sans Pro Black" panose="020B0803030403020204" pitchFamily="34" charset="-18"/>
            </a:endParaRPr>
          </a:p>
        </p:txBody>
      </p:sp>
      <p:sp>
        <p:nvSpPr>
          <p:cNvPr id="47" name="Freeform 51"/>
          <p:cNvSpPr/>
          <p:nvPr/>
        </p:nvSpPr>
        <p:spPr>
          <a:xfrm flipH="1">
            <a:off x="7335210" y="1400498"/>
            <a:ext cx="1233591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Freeform 51"/>
          <p:cNvSpPr/>
          <p:nvPr/>
        </p:nvSpPr>
        <p:spPr>
          <a:xfrm flipH="1">
            <a:off x="7260109" y="2701288"/>
            <a:ext cx="1233591" cy="1130165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1"/>
          <p:cNvSpPr/>
          <p:nvPr/>
        </p:nvSpPr>
        <p:spPr>
          <a:xfrm flipH="1" flipV="1">
            <a:off x="7260109" y="3899921"/>
            <a:ext cx="1233591" cy="1230198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reeform 51"/>
          <p:cNvSpPr/>
          <p:nvPr/>
        </p:nvSpPr>
        <p:spPr>
          <a:xfrm flipH="1" flipV="1">
            <a:off x="7505930" y="2914211"/>
            <a:ext cx="1233591" cy="1230198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Freeform 51"/>
          <p:cNvSpPr/>
          <p:nvPr/>
        </p:nvSpPr>
        <p:spPr>
          <a:xfrm>
            <a:off x="3833819" y="2007786"/>
            <a:ext cx="1532096" cy="1998133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51"/>
          <p:cNvSpPr/>
          <p:nvPr/>
        </p:nvSpPr>
        <p:spPr>
          <a:xfrm>
            <a:off x="3601558" y="3369008"/>
            <a:ext cx="1532096" cy="402019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reeform 51"/>
          <p:cNvSpPr/>
          <p:nvPr/>
        </p:nvSpPr>
        <p:spPr>
          <a:xfrm flipV="1">
            <a:off x="3909362" y="3993916"/>
            <a:ext cx="1532096" cy="1230198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Freeform 51"/>
          <p:cNvSpPr/>
          <p:nvPr/>
        </p:nvSpPr>
        <p:spPr>
          <a:xfrm flipV="1">
            <a:off x="3741868" y="2963626"/>
            <a:ext cx="1532096" cy="1230198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85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 51"/>
          <p:cNvSpPr/>
          <p:nvPr/>
        </p:nvSpPr>
        <p:spPr>
          <a:xfrm>
            <a:off x="3741868" y="4215703"/>
            <a:ext cx="1532096" cy="402019"/>
          </a:xfrm>
          <a:custGeom>
            <a:avLst/>
            <a:gdLst>
              <a:gd name="connsiteX0" fmla="*/ 1264355 w 1264355"/>
              <a:gd name="connsiteY0" fmla="*/ 1998133 h 1998133"/>
              <a:gd name="connsiteX1" fmla="*/ 891822 w 1264355"/>
              <a:gd name="connsiteY1" fmla="*/ 0 h 1998133"/>
              <a:gd name="connsiteX2" fmla="*/ 0 w 1264355"/>
              <a:gd name="connsiteY2" fmla="*/ 0 h 19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64355" h="1998133">
                <a:moveTo>
                  <a:pt x="1264355" y="1998133"/>
                </a:moveTo>
                <a:lnTo>
                  <a:pt x="891822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4477249" y="1773044"/>
            <a:ext cx="3311912" cy="3311912"/>
          </a:xfrm>
          <a:prstGeom prst="ellipse">
            <a:avLst/>
          </a:prstGeom>
          <a:ln w="6350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pl-PL" sz="36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SISTEMA</a:t>
            </a:r>
          </a:p>
          <a:p>
            <a:pPr algn="ctr"/>
            <a:r>
              <a:rPr lang="pl-PL" sz="36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INTEGRAL DE</a:t>
            </a:r>
          </a:p>
          <a:p>
            <a:pPr algn="ctr"/>
            <a:r>
              <a:rPr lang="pl-PL" sz="3600" dirty="0" smtClean="0">
                <a:solidFill>
                  <a:schemeClr val="tx1"/>
                </a:solidFill>
                <a:latin typeface="Source Sans Pro Black" panose="020B0803030403020204" pitchFamily="34" charset="-18"/>
              </a:rPr>
              <a:t>AUDITORÍA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48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704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9" b="7809"/>
          <a:stretch>
            <a:fillRect/>
          </a:stretch>
        </p:blipFill>
        <p:spPr/>
      </p:pic>
      <p:sp>
        <p:nvSpPr>
          <p:cNvPr id="25" name="Rectangle 24"/>
          <p:cNvSpPr/>
          <p:nvPr/>
        </p:nvSpPr>
        <p:spPr>
          <a:xfrm>
            <a:off x="1244085" y="756340"/>
            <a:ext cx="9703830" cy="5214257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624447" y="2449068"/>
            <a:ext cx="6061463" cy="1636043"/>
          </a:xfrm>
          <a:prstGeom prst="rect">
            <a:avLst/>
          </a:prstGeom>
          <a:noFill/>
        </p:spPr>
        <p:txBody>
          <a:bodyPr/>
          <a:lstStyle>
            <a:lvl1pPr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000" dirty="0" smtClean="0">
                <a:solidFill>
                  <a:schemeClr val="accent4"/>
                </a:solidFill>
                <a:latin typeface="Source Sans Pro Black" panose="020B0803030403020204" pitchFamily="34" charset="-18"/>
              </a:rPr>
              <a:t>GRACIAS</a:t>
            </a:r>
            <a:endParaRPr lang="en-US" sz="10000" dirty="0">
              <a:solidFill>
                <a:schemeClr val="accent4"/>
              </a:solidFill>
              <a:latin typeface="Source Sans Pro Black" panose="020B0803030403020204" pitchFamily="34" charset="-18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8685910" y="3616628"/>
            <a:ext cx="2262005" cy="751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1399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89999999999999990000E+000&quot;&gt;&lt;m_msothmcolidx val=&quot;0&quot;/&gt;&lt;m_rgb r=&quot;DF&quot; g=&quot;DF&quot; b=&quot;DF&quot;/&gt;&lt;m_nBrightness val=&quot;0&quot;/&gt;&lt;/elem&gt;&lt;elem m_fUsage=&quot;1.53899999999999990000E+000&quot;&gt;&lt;m_msothmcolidx val=&quot;0&quot;/&gt;&lt;m_rgb r=&quot;EF&quot; g=&quot;C9&quot; b=&quot;4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0IhbnuRqqBYNaDtGvz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2</TotalTime>
  <Words>369</Words>
  <Application>Microsoft Office PowerPoint</Application>
  <PresentationFormat>Panorámica</PresentationFormat>
  <Paragraphs>82</Paragraphs>
  <Slides>7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7</vt:i4>
      </vt:variant>
    </vt:vector>
  </HeadingPairs>
  <TitlesOfParts>
    <vt:vector size="15" baseType="lpstr">
      <vt:lpstr>Arial</vt:lpstr>
      <vt:lpstr>Bebas Neue</vt:lpstr>
      <vt:lpstr>Calibri</vt:lpstr>
      <vt:lpstr>Source Sans Pro</vt:lpstr>
      <vt:lpstr>Source Sans Pro Black</vt:lpstr>
      <vt:lpstr>Source Sans Pro Light</vt:lpstr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Paola Carvajal Gonzalez</cp:lastModifiedBy>
  <cp:revision>182</cp:revision>
  <dcterms:created xsi:type="dcterms:W3CDTF">2016-07-06T10:54:59Z</dcterms:created>
  <dcterms:modified xsi:type="dcterms:W3CDTF">2017-11-06T17:55:49Z</dcterms:modified>
</cp:coreProperties>
</file>